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theme/theme2.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notesSlides/notesSlide1.xml" ContentType="application/vnd.openxmlformats-officedocument.presentationml.notesSlide+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notesSlides/notesSlide2.xml" ContentType="application/vnd.openxmlformats-officedocument.presentationml.notesSlide+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notesSlides/notesSlide3.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4"/>
    <p:sldMasterId id="2147485185" r:id="rId5"/>
  </p:sldMasterIdLst>
  <p:notesMasterIdLst>
    <p:notesMasterId r:id="rId12"/>
  </p:notesMasterIdLst>
  <p:handoutMasterIdLst>
    <p:handoutMasterId r:id="rId13"/>
  </p:handoutMasterIdLst>
  <p:sldIdLst>
    <p:sldId id="1177" r:id="rId6"/>
    <p:sldId id="1181" r:id="rId7"/>
    <p:sldId id="1183" r:id="rId8"/>
    <p:sldId id="1176" r:id="rId9"/>
    <p:sldId id="1173" r:id="rId10"/>
    <p:sldId id="1174" r:id="rId11"/>
  </p:sldIdLst>
  <p:sldSz cx="12192000" cy="6858000"/>
  <p:notesSz cx="6950075" cy="9236075"/>
  <p:custShowLst>
    <p:custShow name="Format Guide Workshop" id="0">
      <p:sldLst/>
    </p:custShow>
  </p:custShowLst>
  <p:custDataLst>
    <p:tags r:id="rId1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3522D"/>
    <a:srgbClr val="D4DF33"/>
    <a:srgbClr val="29BA74"/>
    <a:srgbClr val="EBC5D0"/>
    <a:srgbClr val="C9E7CA"/>
    <a:srgbClr val="EEE89A"/>
    <a:srgbClr val="3EAD92"/>
    <a:srgbClr val="197A56"/>
    <a:srgbClr val="F2F2F2"/>
    <a:srgbClr val="D7F0E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34D033F-0460-4D09-9925-120C1C2CE2D1}" v="375" dt="2020-06-22T23:00:08.03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645" autoAdjust="0"/>
    <p:restoredTop sz="96323" autoAdjust="0"/>
  </p:normalViewPr>
  <p:slideViewPr>
    <p:cSldViewPr snapToGrid="0">
      <p:cViewPr varScale="1">
        <p:scale>
          <a:sx n="126" d="100"/>
          <a:sy n="126" d="100"/>
        </p:scale>
        <p:origin x="336" y="184"/>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handoutMaster" Target="handoutMasters/handoutMaster1.xml"/><Relationship Id="rId18"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notesMaster" Target="notesMasters/notesMaster1.xml"/><Relationship Id="rId17"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presProps" Target="presProps.xml"/><Relationship Id="rId10" Type="http://schemas.openxmlformats.org/officeDocument/2006/relationships/slide" Target="slides/slide5.xml"/><Relationship Id="rId19"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tags" Target="tags/tag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10/6/25</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10/5/25</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3</a:t>
            </a:fld>
            <a:endParaRPr lang="en-US">
              <a:solidFill>
                <a:srgbClr val="6E6F73"/>
              </a:solidFill>
            </a:endParaRPr>
          </a:p>
        </p:txBody>
      </p:sp>
    </p:spTree>
    <p:extLst>
      <p:ext uri="{BB962C8B-B14F-4D97-AF65-F5344CB8AC3E}">
        <p14:creationId xmlns:p14="http://schemas.microsoft.com/office/powerpoint/2010/main" val="34360796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4</a:t>
            </a:fld>
            <a:endParaRPr lang="en-US" dirty="0"/>
          </a:p>
        </p:txBody>
      </p:sp>
    </p:spTree>
    <p:extLst>
      <p:ext uri="{BB962C8B-B14F-4D97-AF65-F5344CB8AC3E}">
        <p14:creationId xmlns:p14="http://schemas.microsoft.com/office/powerpoint/2010/main" val="344737518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5</a:t>
            </a:fld>
            <a:endParaRPr lang="en-US" dirty="0"/>
          </a:p>
        </p:txBody>
      </p:sp>
    </p:spTree>
    <p:extLst>
      <p:ext uri="{BB962C8B-B14F-4D97-AF65-F5344CB8AC3E}">
        <p14:creationId xmlns:p14="http://schemas.microsoft.com/office/powerpoint/2010/main" val="114651515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image" Target="../media/image2.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50.xml"/><Relationship Id="rId7" Type="http://schemas.openxmlformats.org/officeDocument/2006/relationships/image" Target="../media/image3.emf"/><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oleObject" Target="../embeddings/oleObject5.bin"/><Relationship Id="rId5" Type="http://schemas.openxmlformats.org/officeDocument/2006/relationships/slideMaster" Target="../slideMasters/slideMaster2.xml"/><Relationship Id="rId4" Type="http://schemas.openxmlformats.org/officeDocument/2006/relationships/tags" Target="../tags/tag51.xml"/><Relationship Id="rId9" Type="http://schemas.openxmlformats.org/officeDocument/2006/relationships/image" Target="../media/image11.jpg"/></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52.xml"/><Relationship Id="rId5" Type="http://schemas.openxmlformats.org/officeDocument/2006/relationships/image" Target="../media/image6.png"/><Relationship Id="rId4" Type="http://schemas.openxmlformats.org/officeDocument/2006/relationships/image" Target="../media/image8.emf"/></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53.xml"/><Relationship Id="rId5" Type="http://schemas.openxmlformats.org/officeDocument/2006/relationships/image" Target="../media/image10.png"/><Relationship Id="rId4" Type="http://schemas.openxmlformats.org/officeDocument/2006/relationships/image" Target="../media/image3.emf"/></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3" Type="http://schemas.openxmlformats.org/officeDocument/2006/relationships/tags" Target="../tags/tag56.xml"/><Relationship Id="rId7" Type="http://schemas.openxmlformats.org/officeDocument/2006/relationships/image" Target="../media/image11.jpg"/><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image" Target="../media/image3.emf"/><Relationship Id="rId5" Type="http://schemas.openxmlformats.org/officeDocument/2006/relationships/oleObject" Target="../embeddings/oleObject6.bin"/><Relationship Id="rId4"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8.xml"/><Relationship Id="rId1" Type="http://schemas.openxmlformats.org/officeDocument/2006/relationships/tags" Target="../tags/tag57.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3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59.xml"/><Relationship Id="rId4" Type="http://schemas.openxmlformats.org/officeDocument/2006/relationships/image" Target="../media/image1.emf"/></Relationships>
</file>

<file path=ppt/slideLayouts/_rels/slideLayout13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60.xml"/><Relationship Id="rId4" Type="http://schemas.openxmlformats.org/officeDocument/2006/relationships/image" Target="../media/image1.emf"/></Relationships>
</file>

<file path=ppt/slideLayouts/_rels/slideLayout133.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61.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3.xml"/><Relationship Id="rId1" Type="http://schemas.openxmlformats.org/officeDocument/2006/relationships/tags" Target="../tags/tag62.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35.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64.xml"/><Relationship Id="rId4" Type="http://schemas.openxmlformats.org/officeDocument/2006/relationships/image" Target="../media/image1.emf"/></Relationships>
</file>

<file path=ppt/slideLayouts/_rels/slideLayout136.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65.xml"/><Relationship Id="rId4" Type="http://schemas.openxmlformats.org/officeDocument/2006/relationships/image" Target="../media/image1.emf"/></Relationships>
</file>

<file path=ppt/slideLayouts/_rels/slideLayout137.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66.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138.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67.xml"/><Relationship Id="rId5" Type="http://schemas.openxmlformats.org/officeDocument/2006/relationships/image" Target="../media/image6.pn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3.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1.xml"/><Relationship Id="rId7" Type="http://schemas.openxmlformats.org/officeDocument/2006/relationships/image" Target="../media/image3.emf"/><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oleObject" Target="../embeddings/oleObject2.bin"/><Relationship Id="rId5" Type="http://schemas.microsoft.com/office/2007/relationships/hdphoto" Target="../media/hdphoto1.wdp"/><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4.xml"/><Relationship Id="rId5" Type="http://schemas.openxmlformats.org/officeDocument/2006/relationships/image" Target="../media/image10.png"/><Relationship Id="rId4" Type="http://schemas.openxmlformats.org/officeDocument/2006/relationships/image" Target="../media/image8.emf"/></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1.jpg"/><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20.xml"/><Relationship Id="rId7" Type="http://schemas.openxmlformats.org/officeDocument/2006/relationships/image" Target="../media/image3.emf"/><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21.xml"/><Relationship Id="rId9" Type="http://schemas.openxmlformats.org/officeDocument/2006/relationships/image" Target="../media/image11.jpg"/></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1.xml"/><Relationship Id="rId7" Type="http://schemas.openxmlformats.org/officeDocument/2006/relationships/image" Target="../media/image3.emf"/><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oleObject" Target="../embeddings/oleObject2.bin"/><Relationship Id="rId5" Type="http://schemas.microsoft.com/office/2007/relationships/hdphoto" Target="../media/hdphoto1.wdp"/><Relationship Id="rId4" Type="http://schemas.openxmlformats.org/officeDocument/2006/relationships/image" Target="../media/image5.png"/></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2.xml"/><Relationship Id="rId5" Type="http://schemas.openxmlformats.org/officeDocument/2006/relationships/image" Target="../media/image6.png"/><Relationship Id="rId4" Type="http://schemas.openxmlformats.org/officeDocument/2006/relationships/image" Target="../media/image8.emf"/></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3.xml"/><Relationship Id="rId5" Type="http://schemas.openxmlformats.org/officeDocument/2006/relationships/image" Target="../media/image10.png"/><Relationship Id="rId4" Type="http://schemas.openxmlformats.org/officeDocument/2006/relationships/image" Target="../media/image3.emf"/></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11.jpg"/><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3.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tags" Target="../tags/tag27.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1.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tags" Target="../tags/tag32.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34.xml"/><Relationship Id="rId4" Type="http://schemas.openxmlformats.org/officeDocument/2006/relationships/image" Target="../media/image1.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35.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36.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37.xml"/><Relationship Id="rId5" Type="http://schemas.openxmlformats.org/officeDocument/2006/relationships/image" Target="../media/image6.png"/><Relationship Id="rId4" Type="http://schemas.openxmlformats.org/officeDocument/2006/relationships/image" Target="../media/image1.emf"/></Relationships>
</file>

<file path=ppt/slideLayouts/_rels/slideLayout7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41.xml"/><Relationship Id="rId7" Type="http://schemas.openxmlformats.org/officeDocument/2006/relationships/image" Target="../media/image3.emf"/><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oleObject" Target="../embeddings/oleObject16.bin"/><Relationship Id="rId5" Type="http://schemas.openxmlformats.org/officeDocument/2006/relationships/slideMaster" Target="../slideMasters/slideMaster2.xml"/><Relationship Id="rId4" Type="http://schemas.openxmlformats.org/officeDocument/2006/relationships/tags" Target="../tags/tag42.xml"/><Relationship Id="rId9" Type="http://schemas.openxmlformats.org/officeDocument/2006/relationships/image" Target="../media/image11.jpg"/></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43.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44.xml"/><Relationship Id="rId5" Type="http://schemas.openxmlformats.org/officeDocument/2006/relationships/image" Target="../media/image10.png"/><Relationship Id="rId4" Type="http://schemas.openxmlformats.org/officeDocument/2006/relationships/image" Target="../media/image8.emf"/></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3" Type="http://schemas.openxmlformats.org/officeDocument/2006/relationships/tags" Target="../tags/tag47.xml"/><Relationship Id="rId7" Type="http://schemas.openxmlformats.org/officeDocument/2006/relationships/image" Target="../media/image11.jpg"/><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92501" name="Picture 341" descr="tree nature forest wilderness mountain plant evergreen fir ridge conifer trees woods spruce vegetation rainforest woodland habitat larch ecosystem biome pine family old growth forest natural environment atmospheric phenomenon woody plant temperate broadleaf and mixed forest temperate coniferous forest land plant geological phenomenon">
            <a:extLst>
              <a:ext uri="{FF2B5EF4-FFF2-40B4-BE49-F238E27FC236}">
                <a16:creationId xmlns:a16="http://schemas.microsoft.com/office/drawing/2014/main" id="{60939D0E-0149-4534-B2CB-1744F5B60A7B}"/>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53150" y="-3022066"/>
            <a:ext cx="12298300" cy="8021904"/>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5737018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8" name="Picture 17"/>
          <p:cNvPicPr>
            <a:picLocks noChangeAspect="1"/>
          </p:cNvPicPr>
          <p:nvPr userDrawn="1"/>
        </p:nvPicPr>
        <p:blipFill rotWithShape="1">
          <a:blip r:embed="rId7">
            <a:extLst>
              <a:ext uri="{28A0092B-C50C-407E-A947-70E740481C1C}">
                <a14:useLocalDpi xmlns:a14="http://schemas.microsoft.com/office/drawing/2010/main" val="0"/>
              </a:ext>
            </a:extLst>
          </a:blip>
          <a:srcRect l="1731" t="8741" r="102" b="27"/>
          <a:stretch/>
        </p:blipFill>
        <p:spPr>
          <a:xfrm rot="16200000" flipH="1">
            <a:off x="8527440" y="1742865"/>
            <a:ext cx="580573" cy="6858000"/>
          </a:xfrm>
          <a:prstGeom prst="rect">
            <a:avLst/>
          </a:prstGeom>
        </p:spPr>
      </p:pic>
      <p:sp>
        <p:nvSpPr>
          <p:cNvPr id="21" name="Rectangle 20"/>
          <p:cNvSpPr/>
          <p:nvPr userDrawn="1"/>
        </p:nvSpPr>
        <p:spPr bwMode="black">
          <a:xfrm>
            <a:off x="628650" y="462457"/>
            <a:ext cx="10533620" cy="4872941"/>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859859" y="4581370"/>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Date</a:t>
            </a:r>
          </a:p>
        </p:txBody>
      </p:sp>
      <p:sp>
        <p:nvSpPr>
          <p:cNvPr id="26" name="Subtitle 2"/>
          <p:cNvSpPr>
            <a:spLocks noGrp="1"/>
          </p:cNvSpPr>
          <p:nvPr>
            <p:ph type="subTitle" idx="1" hasCustomPrompt="1"/>
          </p:nvPr>
        </p:nvSpPr>
        <p:spPr bwMode="white">
          <a:xfrm>
            <a:off x="859859" y="3776974"/>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 Title</a:t>
            </a:r>
          </a:p>
        </p:txBody>
      </p:sp>
      <p:sp>
        <p:nvSpPr>
          <p:cNvPr id="27" name="Title 1"/>
          <p:cNvSpPr>
            <a:spLocks noGrp="1"/>
          </p:cNvSpPr>
          <p:nvPr>
            <p:ph type="ctrTitle" hasCustomPrompt="1"/>
          </p:nvPr>
        </p:nvSpPr>
        <p:spPr bwMode="ltGray">
          <a:xfrm>
            <a:off x="859859" y="87745"/>
            <a:ext cx="9822433"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Main Title</a:t>
            </a:r>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3000"/>
              </a:lnSpc>
              <a:spcBef>
                <a:spcPct val="0"/>
              </a:spcBef>
              <a:spcAft>
                <a:spcPct val="0"/>
              </a:spcAft>
            </a:pPr>
            <a:endParaRPr lang="en-US" sz="5400" dirty="0">
              <a:solidFill>
                <a:srgbClr val="FFFFFF"/>
              </a:solidFill>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solidFill>
                <a:srgbClr val="575757"/>
              </a:solidFill>
            </a:endParaRPr>
          </a:p>
        </p:txBody>
      </p:sp>
    </p:spTree>
    <p:extLst>
      <p:ext uri="{BB962C8B-B14F-4D97-AF65-F5344CB8AC3E}">
        <p14:creationId xmlns:p14="http://schemas.microsoft.com/office/powerpoint/2010/main" val="874893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2865183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42455594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7894312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27528007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266833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9127152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372630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9756997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21065837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800" dirty="0">
              <a:solidFill>
                <a:prstClr val="white">
                  <a:lumMod val="50000"/>
                </a:prstClr>
              </a:solidFill>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35671171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8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35839716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35416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12500417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800" dirty="0">
              <a:solidFill>
                <a:prstClr val="white"/>
              </a:solidFill>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08227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1797479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408867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752144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105587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22920050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6712368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solidFill>
                <a:prstClr val="white">
                  <a:lumMod val="50000"/>
                </a:prstClr>
              </a:solidFill>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9225166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solidFill>
                <a:srgbClr val="575757"/>
              </a:solidFill>
              <a:sym typeface="Trebuchet MS" panose="020B0603020202020204" pitchFamily="34" charset="0"/>
            </a:endParaRPr>
          </a:p>
        </p:txBody>
      </p:sp>
    </p:spTree>
    <p:extLst>
      <p:ext uri="{BB962C8B-B14F-4D97-AF65-F5344CB8AC3E}">
        <p14:creationId xmlns:p14="http://schemas.microsoft.com/office/powerpoint/2010/main" val="31363227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9923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a:lnSpc>
                <a:spcPct val="106000"/>
              </a:lnSpc>
              <a:spcAft>
                <a:spcPts val="700"/>
              </a:spcAft>
            </a:pPr>
            <a:r>
              <a:rPr lang="en-US" sz="5400" dirty="0">
                <a:solidFill>
                  <a:srgbClr val="29BA74"/>
                </a:solidFill>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082521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4763087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solidFill>
                <a:prstClr val="white">
                  <a:lumMod val="50000"/>
                </a:prstClr>
              </a:solidFill>
            </a:endParaRP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23499195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r>
              <a:rPr lang="en-US" sz="900" dirty="0">
                <a:solidFill>
                  <a:srgbClr val="575757"/>
                </a:solidFill>
                <a:sym typeface="Trebuchet MS" panose="020B0603020202020204" pitchFamily="34" charset="0"/>
              </a:rPr>
              <a:t>The services and materials provided by Boston Consulting Group (BCG) are subject to BCG's Standard Terms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to update these materials after the date hereof, notwithstanding that such information may become outdated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or inaccurate.</a:t>
            </a:r>
          </a:p>
          <a:p>
            <a:r>
              <a:rPr lang="en-US" sz="900" dirty="0">
                <a:solidFill>
                  <a:srgbClr val="575757"/>
                </a:solidFill>
                <a:sym typeface="Trebuchet MS" panose="020B0603020202020204" pitchFamily="34" charset="0"/>
              </a:rPr>
              <a:t> </a:t>
            </a:r>
          </a:p>
          <a:p>
            <a:r>
              <a:rPr lang="en-US" sz="900" dirty="0">
                <a:solidFill>
                  <a:srgbClr val="575757"/>
                </a:solidFill>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of this document shall be deemed agreement with and consideration for the foregoing.</a:t>
            </a:r>
          </a:p>
          <a:p>
            <a:endParaRPr lang="en-US" sz="900" dirty="0">
              <a:solidFill>
                <a:srgbClr val="575757"/>
              </a:solidFill>
              <a:sym typeface="Trebuchet MS" panose="020B0603020202020204" pitchFamily="34" charset="0"/>
            </a:endParaRPr>
          </a:p>
          <a:p>
            <a:pPr>
              <a:defRPr/>
            </a:pPr>
            <a:r>
              <a:rPr lang="en-US" sz="900" dirty="0">
                <a:solidFill>
                  <a:srgbClr val="575757"/>
                </a:solidFill>
                <a:sym typeface="Trebuchet MS" panose="020B0603020202020204" pitchFamily="34" charset="0"/>
              </a:rPr>
              <a:t>BCG does not provide fairness opinions or valuations of market transactions, and these materials should not be relied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rgbClr val="29BA74"/>
                    </a:gs>
                    <a:gs pos="2000">
                      <a:srgbClr val="197A56"/>
                    </a:gs>
                  </a:gsLst>
                  <a:lin ang="2700000" scaled="0"/>
                </a:gradFill>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solidFill>
                <a:prstClr val="white">
                  <a:lumMod val="50000"/>
                </a:prstClr>
              </a:solidFill>
            </a:endParaRPr>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5059339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prstClr val="white"/>
                </a:solidFill>
                <a:sym typeface="Trebuchet MS" panose="020B0603020202020204" pitchFamily="34" charset="0"/>
              </a:rPr>
              <a:t>bcg.com</a:t>
            </a:r>
          </a:p>
        </p:txBody>
      </p:sp>
      <p:sp>
        <p:nvSpPr>
          <p:cNvPr id="10" name="Freeform 9"/>
          <p:cNvSpPr>
            <a:spLocks noChangeAspect="1"/>
          </p:cNvSpPr>
          <p:nvPr userDrawn="1">
            <p:custDataLst>
              <p:tags r:id="rId3"/>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solidFill>
                <a:srgbClr val="575757"/>
              </a:solidFill>
            </a:endParaRPr>
          </a:p>
        </p:txBody>
      </p:sp>
    </p:spTree>
    <p:extLst>
      <p:ext uri="{BB962C8B-B14F-4D97-AF65-F5344CB8AC3E}">
        <p14:creationId xmlns:p14="http://schemas.microsoft.com/office/powerpoint/2010/main" val="2009508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a:defRPr/>
              </a:pPr>
              <a:endParaRPr lang="en-US" dirty="0">
                <a:solidFill>
                  <a:srgbClr val="575757"/>
                </a:solidFill>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a:lnSpc>
                  <a:spcPct val="90000"/>
                </a:lnSpc>
                <a:defRPr/>
              </a:pPr>
              <a:r>
                <a:rPr lang="en-US" sz="1000" dirty="0">
                  <a:solidFill>
                    <a:prstClr val="white">
                      <a:lumMod val="50000"/>
                    </a:prstClr>
                  </a:solidFill>
                  <a:sym typeface="Trebuchet MS" panose="020B0603020202020204" pitchFamily="34" charset="0"/>
                </a:rPr>
                <a:t>1. xxxx  2. xxxx  3. List footnotes in numerical order. Footnote numbers are not bracketed. Use 10pt font</a:t>
              </a:r>
            </a:p>
            <a:p>
              <a:pPr>
                <a:lnSpc>
                  <a:spcPct val="90000"/>
                </a:lnSpc>
                <a:defRPr/>
              </a:pPr>
              <a:r>
                <a:rPr lang="en-US" sz="1000" dirty="0">
                  <a:solidFill>
                    <a:prstClr val="white">
                      <a:lumMod val="50000"/>
                    </a:prstClr>
                  </a:solidFill>
                  <a:sym typeface="Trebuchet MS" panose="020B0603020202020204" pitchFamily="34" charset="0"/>
                </a:rPr>
                <a:t>Note: Do not put a period at the end of the note or the source</a:t>
              </a:r>
            </a:p>
            <a:p>
              <a:pPr>
                <a:lnSpc>
                  <a:spcPct val="90000"/>
                </a:lnSpc>
                <a:defRPr/>
              </a:pPr>
              <a:r>
                <a:rPr lang="en-US" sz="1000" dirty="0">
                  <a:solidFill>
                    <a:prstClr val="white">
                      <a:lumMod val="50000"/>
                    </a:prstClr>
                  </a:solidFill>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29446366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prstClr val="white"/>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a:lnSpc>
                <a:spcPct val="95000"/>
              </a:lnSpc>
            </a:pPr>
            <a:r>
              <a:rPr lang="en-US" sz="5400" dirty="0">
                <a:solidFill>
                  <a:prstClr val="white"/>
                </a:solidFill>
              </a:rPr>
              <a:t>Agenda</a:t>
            </a:r>
          </a:p>
        </p:txBody>
      </p:sp>
    </p:spTree>
    <p:extLst>
      <p:ext uri="{BB962C8B-B14F-4D97-AF65-F5344CB8AC3E}">
        <p14:creationId xmlns:p14="http://schemas.microsoft.com/office/powerpoint/2010/main" val="2555951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2000" dirty="0">
              <a:solidFill>
                <a:prstClr val="white"/>
              </a:solidFill>
            </a:endParaRPr>
          </a:p>
        </p:txBody>
      </p:sp>
    </p:spTree>
    <p:extLst>
      <p:ext uri="{BB962C8B-B14F-4D97-AF65-F5344CB8AC3E}">
        <p14:creationId xmlns:p14="http://schemas.microsoft.com/office/powerpoint/2010/main" val="42113965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prstClr val="white"/>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97187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prstClr val="white"/>
                </a:solidFill>
              </a:rPr>
              <a:t>Agenda</a:t>
            </a:r>
          </a:p>
        </p:txBody>
      </p:sp>
    </p:spTree>
    <p:extLst>
      <p:ext uri="{BB962C8B-B14F-4D97-AF65-F5344CB8AC3E}">
        <p14:creationId xmlns:p14="http://schemas.microsoft.com/office/powerpoint/2010/main" val="5652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rgbClr val="3EAD92"/>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solidFill>
                  <a:srgbClr val="3EAD92"/>
                </a:solidFill>
              </a:rPr>
              <a:t>Agenda</a:t>
            </a:r>
          </a:p>
        </p:txBody>
      </p:sp>
    </p:spTree>
    <p:extLst>
      <p:ext uri="{BB962C8B-B14F-4D97-AF65-F5344CB8AC3E}">
        <p14:creationId xmlns:p14="http://schemas.microsoft.com/office/powerpoint/2010/main" val="23255955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2000" dirty="0">
              <a:solidFill>
                <a:prstClr val="white"/>
              </a:solidFill>
            </a:endParaRPr>
          </a:p>
        </p:txBody>
      </p:sp>
    </p:spTree>
    <p:extLst>
      <p:ext uri="{BB962C8B-B14F-4D97-AF65-F5344CB8AC3E}">
        <p14:creationId xmlns:p14="http://schemas.microsoft.com/office/powerpoint/2010/main" val="32665617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rgbClr val="3EAD92"/>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613756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prstClr val="white"/>
                </a:solidFill>
              </a:rPr>
              <a:t>Agenda</a:t>
            </a:r>
          </a:p>
        </p:txBody>
      </p:sp>
    </p:spTree>
    <p:extLst>
      <p:ext uri="{BB962C8B-B14F-4D97-AF65-F5344CB8AC3E}">
        <p14:creationId xmlns:p14="http://schemas.microsoft.com/office/powerpoint/2010/main" val="23444084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a:lnSpc>
                <a:spcPct val="106000"/>
              </a:lnSpc>
              <a:spcAft>
                <a:spcPts val="700"/>
              </a:spcAft>
            </a:pPr>
            <a:r>
              <a:rPr lang="en-US" sz="5400" dirty="0">
                <a:solidFill>
                  <a:srgbClr val="29BA74"/>
                </a:solidFill>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647523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3_Title Slide">
    <p:spTree>
      <p:nvGrpSpPr>
        <p:cNvPr id="1" name=""/>
        <p:cNvGrpSpPr/>
        <p:nvPr/>
      </p:nvGrpSpPr>
      <p:grpSpPr>
        <a:xfrm>
          <a:off x="0" y="0"/>
          <a:ext cx="0" cy="0"/>
          <a:chOff x="0" y="0"/>
          <a:chExt cx="0" cy="0"/>
        </a:xfrm>
      </p:grpSpPr>
      <p:pic>
        <p:nvPicPr>
          <p:cNvPr id="92501" name="Picture 341" descr="tree nature forest wilderness mountain plant evergreen fir ridge conifer trees woods spruce vegetation rainforest woodland habitat larch ecosystem biome pine family old growth forest natural environment atmospheric phenomenon woody plant temperate broadleaf and mixed forest temperate coniferous forest land plant geological phenomenon">
            <a:extLst>
              <a:ext uri="{FF2B5EF4-FFF2-40B4-BE49-F238E27FC236}">
                <a16:creationId xmlns:a16="http://schemas.microsoft.com/office/drawing/2014/main" id="{60939D0E-0149-4534-B2CB-1744F5B60A7B}"/>
              </a:ext>
            </a:extLst>
          </p:cNvPr>
          <p:cNvPicPr>
            <a:picLocks noChangeAspect="1" noChangeArrowheads="1"/>
          </p:cNvPicPr>
          <p:nvPr userDrawn="1"/>
        </p:nvPicPr>
        <p:blipFill>
          <a:blip r:embed="rId4">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53150" y="-3022066"/>
            <a:ext cx="12298300" cy="8021904"/>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9507477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527440" y="1742865"/>
            <a:ext cx="580573" cy="6858000"/>
          </a:xfrm>
          <a:prstGeom prst="rect">
            <a:avLst/>
          </a:prstGeom>
        </p:spPr>
      </p:pic>
      <p:sp>
        <p:nvSpPr>
          <p:cNvPr id="21" name="Rectangle 20"/>
          <p:cNvSpPr/>
          <p:nvPr userDrawn="1"/>
        </p:nvSpPr>
        <p:spPr bwMode="black">
          <a:xfrm>
            <a:off x="628650" y="462457"/>
            <a:ext cx="10533620" cy="4872941"/>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859859" y="4581370"/>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Date</a:t>
            </a:r>
          </a:p>
        </p:txBody>
      </p:sp>
      <p:sp>
        <p:nvSpPr>
          <p:cNvPr id="26" name="Subtitle 2"/>
          <p:cNvSpPr>
            <a:spLocks noGrp="1"/>
          </p:cNvSpPr>
          <p:nvPr>
            <p:ph type="subTitle" idx="1" hasCustomPrompt="1"/>
          </p:nvPr>
        </p:nvSpPr>
        <p:spPr bwMode="white">
          <a:xfrm>
            <a:off x="859859" y="3776974"/>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 Title</a:t>
            </a:r>
          </a:p>
        </p:txBody>
      </p:sp>
      <p:sp>
        <p:nvSpPr>
          <p:cNvPr id="27" name="Title 1"/>
          <p:cNvSpPr>
            <a:spLocks noGrp="1"/>
          </p:cNvSpPr>
          <p:nvPr>
            <p:ph type="ctrTitle" hasCustomPrompt="1"/>
          </p:nvPr>
        </p:nvSpPr>
        <p:spPr bwMode="ltGray">
          <a:xfrm>
            <a:off x="859859" y="87745"/>
            <a:ext cx="9822433"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Main Title</a:t>
            </a:r>
          </a:p>
        </p:txBody>
      </p:sp>
    </p:spTree>
    <p:extLst>
      <p:ext uri="{BB962C8B-B14F-4D97-AF65-F5344CB8AC3E}">
        <p14:creationId xmlns:p14="http://schemas.microsoft.com/office/powerpoint/2010/main" val="14694212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4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252396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1" name="Rectangle 20"/>
          <p:cNvSpPr/>
          <p:nvPr userDrawn="1"/>
        </p:nvSpPr>
        <p:spPr bwMode="black">
          <a:xfrm>
            <a:off x="628650" y="462457"/>
            <a:ext cx="10533620" cy="4872941"/>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859859" y="4581370"/>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Date</a:t>
            </a:r>
          </a:p>
        </p:txBody>
      </p:sp>
      <p:sp>
        <p:nvSpPr>
          <p:cNvPr id="26" name="Subtitle 2"/>
          <p:cNvSpPr>
            <a:spLocks noGrp="1"/>
          </p:cNvSpPr>
          <p:nvPr>
            <p:ph type="subTitle" idx="1" hasCustomPrompt="1"/>
          </p:nvPr>
        </p:nvSpPr>
        <p:spPr bwMode="white">
          <a:xfrm>
            <a:off x="859859" y="3776974"/>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 Title</a:t>
            </a:r>
          </a:p>
        </p:txBody>
      </p:sp>
      <p:sp>
        <p:nvSpPr>
          <p:cNvPr id="27" name="Title 1"/>
          <p:cNvSpPr>
            <a:spLocks noGrp="1"/>
          </p:cNvSpPr>
          <p:nvPr>
            <p:ph type="ctrTitle" hasCustomPrompt="1"/>
          </p:nvPr>
        </p:nvSpPr>
        <p:spPr bwMode="ltGray">
          <a:xfrm>
            <a:off x="859859" y="87745"/>
            <a:ext cx="9822433"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Main Title</a:t>
            </a:r>
          </a:p>
        </p:txBody>
      </p:sp>
    </p:spTree>
    <p:extLst>
      <p:ext uri="{BB962C8B-B14F-4D97-AF65-F5344CB8AC3E}">
        <p14:creationId xmlns:p14="http://schemas.microsoft.com/office/powerpoint/2010/main" val="19842320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3"/>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92501" name="Picture 341" descr="tree nature forest wilderness mountain plant evergreen fir ridge conifer trees woods spruce vegetation rainforest woodland habitat larch ecosystem biome pine family old growth forest natural environment atmospheric phenomenon woody plant temperate broadleaf and mixed forest temperate coniferous forest land plant geological phenomenon">
            <a:extLst>
              <a:ext uri="{FF2B5EF4-FFF2-40B4-BE49-F238E27FC236}">
                <a16:creationId xmlns:a16="http://schemas.microsoft.com/office/drawing/2014/main" id="{60939D0E-0149-4534-B2CB-1744F5B60A7B}"/>
              </a:ext>
            </a:extLst>
          </p:cNvPr>
          <p:cNvPicPr>
            <a:picLocks noChangeAspect="1" noChangeArrowheads="1"/>
          </p:cNvPicPr>
          <p:nvPr userDrawn="1"/>
        </p:nvPicPr>
        <p:blipFill>
          <a:blip r:embed="rId4">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53150" y="-2963344"/>
            <a:ext cx="12298300" cy="8198867"/>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5952188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Dat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err="1"/>
              <a:t>SubTitle</a:t>
            </a:r>
            <a:endParaRPr lang="en-US" dirty="0"/>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Main Title</a:t>
            </a:r>
          </a:p>
        </p:txBody>
      </p:sp>
    </p:spTree>
    <p:extLst>
      <p:ext uri="{BB962C8B-B14F-4D97-AF65-F5344CB8AC3E}">
        <p14:creationId xmlns:p14="http://schemas.microsoft.com/office/powerpoint/2010/main" val="6554280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5732027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6">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Dat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 Titl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Main Title</a:t>
            </a:r>
          </a:p>
        </p:txBody>
      </p:sp>
    </p:spTree>
    <p:extLst>
      <p:ext uri="{BB962C8B-B14F-4D97-AF65-F5344CB8AC3E}">
        <p14:creationId xmlns:p14="http://schemas.microsoft.com/office/powerpoint/2010/main" val="4013281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3"/>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5005045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4908935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2176769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3000"/>
              </a:lnSpc>
              <a:spcBef>
                <a:spcPct val="0"/>
              </a:spcBef>
              <a:spcAft>
                <a:spcPct val="0"/>
              </a:spcAft>
            </a:pPr>
            <a:endParaRPr lang="en-US" sz="5400" dirty="0">
              <a:solidFill>
                <a:srgbClr val="FFFFFF"/>
              </a:solidFill>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solidFill>
                <a:srgbClr val="575757"/>
              </a:solidFill>
            </a:endParaRPr>
          </a:p>
        </p:txBody>
      </p:sp>
    </p:spTree>
    <p:extLst>
      <p:ext uri="{BB962C8B-B14F-4D97-AF65-F5344CB8AC3E}">
        <p14:creationId xmlns:p14="http://schemas.microsoft.com/office/powerpoint/2010/main" val="31421350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solidFill>
                <a:prstClr val="white">
                  <a:lumMod val="50000"/>
                </a:prstClr>
              </a:solidFill>
            </a:endParaRPr>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209819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26984693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90000"/>
              </a:lnSpc>
              <a:spcAft>
                <a:spcPts val="1000"/>
              </a:spcAft>
            </a:pPr>
            <a:endParaRPr lang="en-US" sz="1200" dirty="0">
              <a:solidFill>
                <a:prstClr val="white"/>
              </a:solidFill>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solidFill>
                <a:prstClr val="white">
                  <a:lumMod val="50000"/>
                </a:prstClr>
              </a:solidFill>
            </a:endParaRPr>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28068966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21775662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740118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49672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20415879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14754247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800" dirty="0">
              <a:solidFill>
                <a:prstClr val="white">
                  <a:lumMod val="50000"/>
                </a:prstClr>
              </a:solidFill>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7514314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8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5075917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861827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2324519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800" dirty="0">
              <a:solidFill>
                <a:prstClr val="white"/>
              </a:solidFill>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35842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10880509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839250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8876977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26792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4066093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0875046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15160338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solidFill>
                <a:srgbClr val="575757"/>
              </a:solidFill>
              <a:sym typeface="Trebuchet MS" panose="020B0603020202020204" pitchFamily="34" charset="0"/>
            </a:endParaRPr>
          </a:p>
        </p:txBody>
      </p:sp>
    </p:spTree>
    <p:extLst>
      <p:ext uri="{BB962C8B-B14F-4D97-AF65-F5344CB8AC3E}">
        <p14:creationId xmlns:p14="http://schemas.microsoft.com/office/powerpoint/2010/main" val="20569003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7169042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13956914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40256247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r>
              <a:rPr lang="en-US" sz="900" dirty="0">
                <a:solidFill>
                  <a:srgbClr val="575757"/>
                </a:solidFill>
                <a:sym typeface="Trebuchet MS" panose="020B0603020202020204" pitchFamily="34" charset="0"/>
              </a:rPr>
              <a:t>The services and materials provided by Boston Consulting Group (BCG) are subject to BCG's Standard Terms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to update these materials after the date hereof, notwithstanding that such information may become outdated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or inaccurate.</a:t>
            </a:r>
          </a:p>
          <a:p>
            <a:r>
              <a:rPr lang="en-US" sz="900" dirty="0">
                <a:solidFill>
                  <a:srgbClr val="575757"/>
                </a:solidFill>
                <a:sym typeface="Trebuchet MS" panose="020B0603020202020204" pitchFamily="34" charset="0"/>
              </a:rPr>
              <a:t> </a:t>
            </a:r>
          </a:p>
          <a:p>
            <a:r>
              <a:rPr lang="en-US" sz="900" dirty="0">
                <a:solidFill>
                  <a:srgbClr val="575757"/>
                </a:solidFill>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endParaRPr lang="en-US" sz="900" dirty="0">
              <a:solidFill>
                <a:srgbClr val="575757"/>
              </a:solidFill>
              <a:sym typeface="Trebuchet MS" panose="020B0603020202020204" pitchFamily="34" charset="0"/>
            </a:endParaRPr>
          </a:p>
          <a:p>
            <a:pPr>
              <a:defRPr/>
            </a:pPr>
            <a:r>
              <a:rPr lang="en-US" sz="900" dirty="0">
                <a:solidFill>
                  <a:srgbClr val="575757"/>
                </a:solidFill>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rgbClr val="29BA74"/>
                    </a:gs>
                    <a:gs pos="2000">
                      <a:srgbClr val="197A56"/>
                    </a:gs>
                  </a:gsLst>
                  <a:lin ang="2700000" scaled="0"/>
                </a:gradFill>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35840072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prstClr val="white"/>
                </a:solidFill>
                <a:sym typeface="Trebuchet MS" panose="020B0603020202020204" pitchFamily="34" charset="0"/>
              </a:rPr>
              <a:t>bcg.com</a:t>
            </a:r>
          </a:p>
        </p:txBody>
      </p:sp>
      <p:sp>
        <p:nvSpPr>
          <p:cNvPr id="7" name="Freeform 6"/>
          <p:cNvSpPr>
            <a:spLocks noChangeAspect="1"/>
          </p:cNvSpPr>
          <p:nvPr userDrawn="1">
            <p:custDataLst>
              <p:tags r:id="rId3"/>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solidFill>
                <a:srgbClr val="575757"/>
              </a:solidFill>
            </a:endParaRPr>
          </a:p>
        </p:txBody>
      </p:sp>
    </p:spTree>
    <p:extLst>
      <p:ext uri="{BB962C8B-B14F-4D97-AF65-F5344CB8AC3E}">
        <p14:creationId xmlns:p14="http://schemas.microsoft.com/office/powerpoint/2010/main" val="8134844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a:defRPr/>
              </a:pPr>
              <a:endParaRPr lang="en-US" dirty="0">
                <a:solidFill>
                  <a:srgbClr val="575757"/>
                </a:solidFill>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a:lnSpc>
                  <a:spcPct val="90000"/>
                </a:lnSpc>
                <a:defRPr/>
              </a:pPr>
              <a:r>
                <a:rPr lang="en-US" sz="1000" dirty="0">
                  <a:solidFill>
                    <a:prstClr val="white">
                      <a:lumMod val="50000"/>
                    </a:prstClr>
                  </a:solidFill>
                  <a:sym typeface="Trebuchet MS" panose="020B0603020202020204" pitchFamily="34" charset="0"/>
                </a:rPr>
                <a:t>1. xxxx  2. xxxx  3. List footnotes in numerical order. Footnote numbers are not bracketed. Use 10pt font</a:t>
              </a:r>
            </a:p>
            <a:p>
              <a:pPr>
                <a:lnSpc>
                  <a:spcPct val="90000"/>
                </a:lnSpc>
                <a:defRPr/>
              </a:pPr>
              <a:r>
                <a:rPr lang="en-US" sz="1000" dirty="0">
                  <a:solidFill>
                    <a:prstClr val="white">
                      <a:lumMod val="50000"/>
                    </a:prstClr>
                  </a:solidFill>
                  <a:sym typeface="Trebuchet MS" panose="020B0603020202020204" pitchFamily="34" charset="0"/>
                </a:rPr>
                <a:t>Note: Do not put a period at the end of the note or the source</a:t>
              </a:r>
            </a:p>
            <a:p>
              <a:pPr>
                <a:lnSpc>
                  <a:spcPct val="90000"/>
                </a:lnSpc>
                <a:defRPr/>
              </a:pPr>
              <a:r>
                <a:rPr lang="en-US" sz="1000" dirty="0">
                  <a:solidFill>
                    <a:prstClr val="white">
                      <a:lumMod val="50000"/>
                    </a:prstClr>
                  </a:solidFill>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3003055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oleObject" Target="../embeddings/oleObject1.bin"/><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theme" Target="../theme/theme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71" Type="http://schemas.openxmlformats.org/officeDocument/2006/relationships/slideLayout" Target="../slideLayouts/slideLayout71.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97.xml"/><Relationship Id="rId21" Type="http://schemas.openxmlformats.org/officeDocument/2006/relationships/slideLayout" Target="../slideLayouts/slideLayout92.xml"/><Relationship Id="rId42" Type="http://schemas.openxmlformats.org/officeDocument/2006/relationships/slideLayout" Target="../slideLayouts/slideLayout113.xml"/><Relationship Id="rId47" Type="http://schemas.openxmlformats.org/officeDocument/2006/relationships/slideLayout" Target="../slideLayouts/slideLayout118.xml"/><Relationship Id="rId63" Type="http://schemas.openxmlformats.org/officeDocument/2006/relationships/slideLayout" Target="../slideLayouts/slideLayout134.xml"/><Relationship Id="rId68" Type="http://schemas.openxmlformats.org/officeDocument/2006/relationships/theme" Target="../theme/theme2.xml"/><Relationship Id="rId7" Type="http://schemas.openxmlformats.org/officeDocument/2006/relationships/slideLayout" Target="../slideLayouts/slideLayout78.xml"/><Relationship Id="rId71" Type="http://schemas.openxmlformats.org/officeDocument/2006/relationships/image" Target="../media/image1.emf"/><Relationship Id="rId2" Type="http://schemas.openxmlformats.org/officeDocument/2006/relationships/slideLayout" Target="../slideLayouts/slideLayout73.xml"/><Relationship Id="rId16" Type="http://schemas.openxmlformats.org/officeDocument/2006/relationships/slideLayout" Target="../slideLayouts/slideLayout87.xml"/><Relationship Id="rId29" Type="http://schemas.openxmlformats.org/officeDocument/2006/relationships/slideLayout" Target="../slideLayouts/slideLayout100.xml"/><Relationship Id="rId11" Type="http://schemas.openxmlformats.org/officeDocument/2006/relationships/slideLayout" Target="../slideLayouts/slideLayout82.xml"/><Relationship Id="rId24" Type="http://schemas.openxmlformats.org/officeDocument/2006/relationships/slideLayout" Target="../slideLayouts/slideLayout95.xml"/><Relationship Id="rId32" Type="http://schemas.openxmlformats.org/officeDocument/2006/relationships/slideLayout" Target="../slideLayouts/slideLayout103.xml"/><Relationship Id="rId37" Type="http://schemas.openxmlformats.org/officeDocument/2006/relationships/slideLayout" Target="../slideLayouts/slideLayout108.xml"/><Relationship Id="rId40" Type="http://schemas.openxmlformats.org/officeDocument/2006/relationships/slideLayout" Target="../slideLayouts/slideLayout111.xml"/><Relationship Id="rId45" Type="http://schemas.openxmlformats.org/officeDocument/2006/relationships/slideLayout" Target="../slideLayouts/slideLayout116.xml"/><Relationship Id="rId53" Type="http://schemas.openxmlformats.org/officeDocument/2006/relationships/slideLayout" Target="../slideLayouts/slideLayout124.xml"/><Relationship Id="rId58" Type="http://schemas.openxmlformats.org/officeDocument/2006/relationships/slideLayout" Target="../slideLayouts/slideLayout129.xml"/><Relationship Id="rId66" Type="http://schemas.openxmlformats.org/officeDocument/2006/relationships/slideLayout" Target="../slideLayouts/slideLayout137.xml"/><Relationship Id="rId5" Type="http://schemas.openxmlformats.org/officeDocument/2006/relationships/slideLayout" Target="../slideLayouts/slideLayout76.xml"/><Relationship Id="rId61" Type="http://schemas.openxmlformats.org/officeDocument/2006/relationships/slideLayout" Target="../slideLayouts/slideLayout132.xml"/><Relationship Id="rId19" Type="http://schemas.openxmlformats.org/officeDocument/2006/relationships/slideLayout" Target="../slideLayouts/slideLayout90.xml"/><Relationship Id="rId14" Type="http://schemas.openxmlformats.org/officeDocument/2006/relationships/slideLayout" Target="../slideLayouts/slideLayout85.xml"/><Relationship Id="rId22" Type="http://schemas.openxmlformats.org/officeDocument/2006/relationships/slideLayout" Target="../slideLayouts/slideLayout93.xml"/><Relationship Id="rId27" Type="http://schemas.openxmlformats.org/officeDocument/2006/relationships/slideLayout" Target="../slideLayouts/slideLayout98.xml"/><Relationship Id="rId30" Type="http://schemas.openxmlformats.org/officeDocument/2006/relationships/slideLayout" Target="../slideLayouts/slideLayout101.xml"/><Relationship Id="rId35" Type="http://schemas.openxmlformats.org/officeDocument/2006/relationships/slideLayout" Target="../slideLayouts/slideLayout106.xml"/><Relationship Id="rId43" Type="http://schemas.openxmlformats.org/officeDocument/2006/relationships/slideLayout" Target="../slideLayouts/slideLayout114.xml"/><Relationship Id="rId48" Type="http://schemas.openxmlformats.org/officeDocument/2006/relationships/slideLayout" Target="../slideLayouts/slideLayout119.xml"/><Relationship Id="rId56" Type="http://schemas.openxmlformats.org/officeDocument/2006/relationships/slideLayout" Target="../slideLayouts/slideLayout127.xml"/><Relationship Id="rId64" Type="http://schemas.openxmlformats.org/officeDocument/2006/relationships/slideLayout" Target="../slideLayouts/slideLayout135.xml"/><Relationship Id="rId69" Type="http://schemas.openxmlformats.org/officeDocument/2006/relationships/tags" Target="../tags/tag38.xml"/><Relationship Id="rId8" Type="http://schemas.openxmlformats.org/officeDocument/2006/relationships/slideLayout" Target="../slideLayouts/slideLayout79.xml"/><Relationship Id="rId51" Type="http://schemas.openxmlformats.org/officeDocument/2006/relationships/slideLayout" Target="../slideLayouts/slideLayout122.xml"/><Relationship Id="rId3" Type="http://schemas.openxmlformats.org/officeDocument/2006/relationships/slideLayout" Target="../slideLayouts/slideLayout74.xml"/><Relationship Id="rId12" Type="http://schemas.openxmlformats.org/officeDocument/2006/relationships/slideLayout" Target="../slideLayouts/slideLayout83.xml"/><Relationship Id="rId17" Type="http://schemas.openxmlformats.org/officeDocument/2006/relationships/slideLayout" Target="../slideLayouts/slideLayout88.xml"/><Relationship Id="rId25" Type="http://schemas.openxmlformats.org/officeDocument/2006/relationships/slideLayout" Target="../slideLayouts/slideLayout96.xml"/><Relationship Id="rId33" Type="http://schemas.openxmlformats.org/officeDocument/2006/relationships/slideLayout" Target="../slideLayouts/slideLayout104.xml"/><Relationship Id="rId38" Type="http://schemas.openxmlformats.org/officeDocument/2006/relationships/slideLayout" Target="../slideLayouts/slideLayout109.xml"/><Relationship Id="rId46" Type="http://schemas.openxmlformats.org/officeDocument/2006/relationships/slideLayout" Target="../slideLayouts/slideLayout117.xml"/><Relationship Id="rId59" Type="http://schemas.openxmlformats.org/officeDocument/2006/relationships/slideLayout" Target="../slideLayouts/slideLayout130.xml"/><Relationship Id="rId67" Type="http://schemas.openxmlformats.org/officeDocument/2006/relationships/slideLayout" Target="../slideLayouts/slideLayout138.xml"/><Relationship Id="rId20" Type="http://schemas.openxmlformats.org/officeDocument/2006/relationships/slideLayout" Target="../slideLayouts/slideLayout91.xml"/><Relationship Id="rId41" Type="http://schemas.openxmlformats.org/officeDocument/2006/relationships/slideLayout" Target="../slideLayouts/slideLayout112.xml"/><Relationship Id="rId54" Type="http://schemas.openxmlformats.org/officeDocument/2006/relationships/slideLayout" Target="../slideLayouts/slideLayout125.xml"/><Relationship Id="rId62" Type="http://schemas.openxmlformats.org/officeDocument/2006/relationships/slideLayout" Target="../slideLayouts/slideLayout133.xml"/><Relationship Id="rId70" Type="http://schemas.openxmlformats.org/officeDocument/2006/relationships/oleObject" Target="../embeddings/oleObject1.bin"/><Relationship Id="rId1" Type="http://schemas.openxmlformats.org/officeDocument/2006/relationships/slideLayout" Target="../slideLayouts/slideLayout72.xml"/><Relationship Id="rId6" Type="http://schemas.openxmlformats.org/officeDocument/2006/relationships/slideLayout" Target="../slideLayouts/slideLayout77.xml"/><Relationship Id="rId15" Type="http://schemas.openxmlformats.org/officeDocument/2006/relationships/slideLayout" Target="../slideLayouts/slideLayout86.xml"/><Relationship Id="rId23" Type="http://schemas.openxmlformats.org/officeDocument/2006/relationships/slideLayout" Target="../slideLayouts/slideLayout94.xml"/><Relationship Id="rId28" Type="http://schemas.openxmlformats.org/officeDocument/2006/relationships/slideLayout" Target="../slideLayouts/slideLayout99.xml"/><Relationship Id="rId36" Type="http://schemas.openxmlformats.org/officeDocument/2006/relationships/slideLayout" Target="../slideLayouts/slideLayout107.xml"/><Relationship Id="rId49" Type="http://schemas.openxmlformats.org/officeDocument/2006/relationships/slideLayout" Target="../slideLayouts/slideLayout120.xml"/><Relationship Id="rId57" Type="http://schemas.openxmlformats.org/officeDocument/2006/relationships/slideLayout" Target="../slideLayouts/slideLayout128.xml"/><Relationship Id="rId10" Type="http://schemas.openxmlformats.org/officeDocument/2006/relationships/slideLayout" Target="../slideLayouts/slideLayout81.xml"/><Relationship Id="rId31" Type="http://schemas.openxmlformats.org/officeDocument/2006/relationships/slideLayout" Target="../slideLayouts/slideLayout102.xml"/><Relationship Id="rId44" Type="http://schemas.openxmlformats.org/officeDocument/2006/relationships/slideLayout" Target="../slideLayouts/slideLayout115.xml"/><Relationship Id="rId52" Type="http://schemas.openxmlformats.org/officeDocument/2006/relationships/slideLayout" Target="../slideLayouts/slideLayout123.xml"/><Relationship Id="rId60" Type="http://schemas.openxmlformats.org/officeDocument/2006/relationships/slideLayout" Target="../slideLayouts/slideLayout131.xml"/><Relationship Id="rId65" Type="http://schemas.openxmlformats.org/officeDocument/2006/relationships/slideLayout" Target="../slideLayouts/slideLayout136.xml"/><Relationship Id="rId4" Type="http://schemas.openxmlformats.org/officeDocument/2006/relationships/slideLayout" Target="../slideLayouts/slideLayout75.xml"/><Relationship Id="rId9" Type="http://schemas.openxmlformats.org/officeDocument/2006/relationships/slideLayout" Target="../slideLayouts/slideLayout80.xml"/><Relationship Id="rId13" Type="http://schemas.openxmlformats.org/officeDocument/2006/relationships/slideLayout" Target="../slideLayouts/slideLayout84.xml"/><Relationship Id="rId18" Type="http://schemas.openxmlformats.org/officeDocument/2006/relationships/slideLayout" Target="../slideLayouts/slideLayout89.xml"/><Relationship Id="rId39" Type="http://schemas.openxmlformats.org/officeDocument/2006/relationships/slideLayout" Target="../slideLayouts/slideLayout110.xml"/><Relationship Id="rId34" Type="http://schemas.openxmlformats.org/officeDocument/2006/relationships/slideLayout" Target="../slideLayouts/slideLayout105.xml"/><Relationship Id="rId50" Type="http://schemas.openxmlformats.org/officeDocument/2006/relationships/slideLayout" Target="../slideLayouts/slideLayout121.xml"/><Relationship Id="rId55" Type="http://schemas.openxmlformats.org/officeDocument/2006/relationships/slideLayout" Target="../slideLayouts/slideLayout12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3"/>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4" imgW="270" imgH="270" progId="TCLayout.ActiveDocument.1">
                  <p:embed/>
                </p:oleObj>
              </mc:Choice>
              <mc:Fallback>
                <p:oleObj name="think-cell Slide" r:id="rId74" imgW="270" imgH="270" progId="TCLayout.ActiveDocument.1">
                  <p:embed/>
                  <p:pic>
                    <p:nvPicPr>
                      <p:cNvPr id="2" name="Object 1" hidden="1"/>
                      <p:cNvPicPr/>
                      <p:nvPr/>
                    </p:nvPicPr>
                    <p:blipFill>
                      <a:blip r:embed="rId75"/>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255" r:id="rId2"/>
    <p:sldLayoutId id="2147485256" r:id="rId3"/>
    <p:sldLayoutId id="2147485253" r:id="rId4"/>
    <p:sldLayoutId id="2147485254" r:id="rId5"/>
    <p:sldLayoutId id="2147485086" r:id="rId6"/>
    <p:sldLayoutId id="2147485183" r:id="rId7"/>
    <p:sldLayoutId id="2147485158" r:id="rId8"/>
    <p:sldLayoutId id="2147485113" r:id="rId9"/>
    <p:sldLayoutId id="2147485114" r:id="rId10"/>
    <p:sldLayoutId id="2147485154" r:id="rId11"/>
    <p:sldLayoutId id="2147485162" r:id="rId12"/>
    <p:sldLayoutId id="2147485149" r:id="rId13"/>
    <p:sldLayoutId id="2147485087" r:id="rId14"/>
    <p:sldLayoutId id="2147485112" r:id="rId15"/>
    <p:sldLayoutId id="2147485155" r:id="rId16"/>
    <p:sldLayoutId id="2147485164" r:id="rId17"/>
    <p:sldLayoutId id="2147485109" r:id="rId18"/>
    <p:sldLayoutId id="2147485165" r:id="rId19"/>
    <p:sldLayoutId id="2147485110" r:id="rId20"/>
    <p:sldLayoutId id="2147485166" r:id="rId21"/>
    <p:sldLayoutId id="2147485156" r:id="rId22"/>
    <p:sldLayoutId id="2147485167" r:id="rId23"/>
    <p:sldLayoutId id="2147485108" r:id="rId24"/>
    <p:sldLayoutId id="2147485107" r:id="rId25"/>
    <p:sldLayoutId id="2147485106" r:id="rId26"/>
    <p:sldLayoutId id="2147485090" r:id="rId27"/>
    <p:sldLayoutId id="2147485091" r:id="rId28"/>
    <p:sldLayoutId id="2147485092" r:id="rId29"/>
    <p:sldLayoutId id="2147485093" r:id="rId30"/>
    <p:sldLayoutId id="2147485116" r:id="rId31"/>
    <p:sldLayoutId id="2147485161" r:id="rId32"/>
    <p:sldLayoutId id="2147485159" r:id="rId33"/>
    <p:sldLayoutId id="2147485119" r:id="rId34"/>
    <p:sldLayoutId id="2147485184" r:id="rId35"/>
    <p:sldLayoutId id="2147485137" r:id="rId36"/>
    <p:sldLayoutId id="2147485120" r:id="rId37"/>
    <p:sldLayoutId id="2147485121" r:id="rId38"/>
    <p:sldLayoutId id="2147485141" r:id="rId39"/>
    <p:sldLayoutId id="2147485163" r:id="rId40"/>
    <p:sldLayoutId id="2147485139" r:id="rId41"/>
    <p:sldLayoutId id="2147485140" r:id="rId42"/>
    <p:sldLayoutId id="2147485122" r:id="rId43"/>
    <p:sldLayoutId id="2147485123" r:id="rId44"/>
    <p:sldLayoutId id="2147485151" r:id="rId45"/>
    <p:sldLayoutId id="2147485168" r:id="rId46"/>
    <p:sldLayoutId id="2147485127" r:id="rId47"/>
    <p:sldLayoutId id="2147485169" r:id="rId48"/>
    <p:sldLayoutId id="2147485126" r:id="rId49"/>
    <p:sldLayoutId id="2147485170" r:id="rId50"/>
    <p:sldLayoutId id="2147485153" r:id="rId51"/>
    <p:sldLayoutId id="2147485171" r:id="rId52"/>
    <p:sldLayoutId id="2147485128" r:id="rId53"/>
    <p:sldLayoutId id="2147485129" r:id="rId54"/>
    <p:sldLayoutId id="2147485130" r:id="rId55"/>
    <p:sldLayoutId id="2147485131" r:id="rId56"/>
    <p:sldLayoutId id="2147485145" r:id="rId57"/>
    <p:sldLayoutId id="2147485133" r:id="rId58"/>
    <p:sldLayoutId id="2147485144" r:id="rId59"/>
    <p:sldLayoutId id="2147485134" r:id="rId60"/>
    <p:sldLayoutId id="2147485146" r:id="rId61"/>
    <p:sldLayoutId id="2147485160" r:id="rId62"/>
    <p:sldLayoutId id="2147485172" r:id="rId63"/>
    <p:sldLayoutId id="2147485173" r:id="rId64"/>
    <p:sldLayoutId id="2147485174" r:id="rId65"/>
    <p:sldLayoutId id="2147485175" r:id="rId66"/>
    <p:sldLayoutId id="2147485176" r:id="rId67"/>
    <p:sldLayoutId id="2147485177" r:id="rId68"/>
    <p:sldLayoutId id="2147485178" r:id="rId69"/>
    <p:sldLayoutId id="2147485179" r:id="rId70"/>
    <p:sldLayoutId id="2147485180" r:id="rId71"/>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9"/>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0" imgW="270" imgH="270" progId="TCLayout.ActiveDocument.1">
                  <p:embed/>
                </p:oleObj>
              </mc:Choice>
              <mc:Fallback>
                <p:oleObj name="think-cell Slide" r:id="rId70" imgW="270" imgH="270" progId="TCLayout.ActiveDocument.1">
                  <p:embed/>
                  <p:pic>
                    <p:nvPicPr>
                      <p:cNvPr id="2" name="Object 1" hidden="1"/>
                      <p:cNvPicPr/>
                      <p:nvPr/>
                    </p:nvPicPr>
                    <p:blipFill>
                      <a:blip r:embed="rId71"/>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2514796529"/>
      </p:ext>
    </p:extLst>
  </p:cSld>
  <p:clrMap bg1="lt1" tx1="dk1" bg2="lt2" tx2="dk2" accent1="accent1" accent2="accent2" accent3="accent3" accent4="accent4" accent5="accent5" accent6="accent6" hlink="hlink" folHlink="folHlink"/>
  <p:sldLayoutIdLst>
    <p:sldLayoutId id="2147485186" r:id="rId1"/>
    <p:sldLayoutId id="2147485187" r:id="rId2"/>
    <p:sldLayoutId id="2147485188" r:id="rId3"/>
    <p:sldLayoutId id="2147485189" r:id="rId4"/>
    <p:sldLayoutId id="2147485190" r:id="rId5"/>
    <p:sldLayoutId id="2147485191" r:id="rId6"/>
    <p:sldLayoutId id="2147485192" r:id="rId7"/>
    <p:sldLayoutId id="2147485193" r:id="rId8"/>
    <p:sldLayoutId id="2147485194" r:id="rId9"/>
    <p:sldLayoutId id="2147485195" r:id="rId10"/>
    <p:sldLayoutId id="2147485196" r:id="rId11"/>
    <p:sldLayoutId id="2147485197" r:id="rId12"/>
    <p:sldLayoutId id="2147485198" r:id="rId13"/>
    <p:sldLayoutId id="2147485199" r:id="rId14"/>
    <p:sldLayoutId id="2147485200" r:id="rId15"/>
    <p:sldLayoutId id="2147485201" r:id="rId16"/>
    <p:sldLayoutId id="2147485202" r:id="rId17"/>
    <p:sldLayoutId id="2147485203" r:id="rId18"/>
    <p:sldLayoutId id="2147485204" r:id="rId19"/>
    <p:sldLayoutId id="2147485205" r:id="rId20"/>
    <p:sldLayoutId id="2147485206" r:id="rId21"/>
    <p:sldLayoutId id="2147485207" r:id="rId22"/>
    <p:sldLayoutId id="2147485208" r:id="rId23"/>
    <p:sldLayoutId id="2147485209" r:id="rId24"/>
    <p:sldLayoutId id="2147485210" r:id="rId25"/>
    <p:sldLayoutId id="2147485211" r:id="rId26"/>
    <p:sldLayoutId id="2147485212" r:id="rId27"/>
    <p:sldLayoutId id="2147485213" r:id="rId28"/>
    <p:sldLayoutId id="2147485214" r:id="rId29"/>
    <p:sldLayoutId id="2147485215" r:id="rId30"/>
    <p:sldLayoutId id="2147485216" r:id="rId31"/>
    <p:sldLayoutId id="2147485217" r:id="rId32"/>
    <p:sldLayoutId id="2147485218" r:id="rId33"/>
    <p:sldLayoutId id="2147485219" r:id="rId34"/>
    <p:sldLayoutId id="2147485220" r:id="rId35"/>
    <p:sldLayoutId id="2147485221" r:id="rId36"/>
    <p:sldLayoutId id="2147485222" r:id="rId37"/>
    <p:sldLayoutId id="2147485223" r:id="rId38"/>
    <p:sldLayoutId id="2147485224" r:id="rId39"/>
    <p:sldLayoutId id="2147485225" r:id="rId40"/>
    <p:sldLayoutId id="2147485226" r:id="rId41"/>
    <p:sldLayoutId id="2147485227" r:id="rId42"/>
    <p:sldLayoutId id="2147485228" r:id="rId43"/>
    <p:sldLayoutId id="2147485229" r:id="rId44"/>
    <p:sldLayoutId id="2147485230" r:id="rId45"/>
    <p:sldLayoutId id="2147485231" r:id="rId46"/>
    <p:sldLayoutId id="2147485232" r:id="rId47"/>
    <p:sldLayoutId id="2147485233" r:id="rId48"/>
    <p:sldLayoutId id="2147485234" r:id="rId49"/>
    <p:sldLayoutId id="2147485235" r:id="rId50"/>
    <p:sldLayoutId id="2147485236" r:id="rId51"/>
    <p:sldLayoutId id="2147485237" r:id="rId52"/>
    <p:sldLayoutId id="2147485238" r:id="rId53"/>
    <p:sldLayoutId id="2147485239" r:id="rId54"/>
    <p:sldLayoutId id="2147485240" r:id="rId55"/>
    <p:sldLayoutId id="2147485241" r:id="rId56"/>
    <p:sldLayoutId id="2147485242" r:id="rId57"/>
    <p:sldLayoutId id="2147485243" r:id="rId58"/>
    <p:sldLayoutId id="2147485244" r:id="rId59"/>
    <p:sldLayoutId id="2147485245" r:id="rId60"/>
    <p:sldLayoutId id="2147485246" r:id="rId61"/>
    <p:sldLayoutId id="2147485247" r:id="rId62"/>
    <p:sldLayoutId id="2147485248" r:id="rId63"/>
    <p:sldLayoutId id="2147485249" r:id="rId64"/>
    <p:sldLayoutId id="2147485250" r:id="rId65"/>
    <p:sldLayoutId id="2147485251" r:id="rId66"/>
    <p:sldLayoutId id="2147485252"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4.xml.rels><?xml version="1.0" encoding="UTF-8" standalone="yes"?>
<Relationships xmlns="http://schemas.openxmlformats.org/package/2006/relationships"><Relationship Id="rId3" Type="http://schemas.openxmlformats.org/officeDocument/2006/relationships/tags" Target="../tags/tag70.xml"/><Relationship Id="rId7" Type="http://schemas.openxmlformats.org/officeDocument/2006/relationships/image" Target="../media/image12.emf"/><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oleObject" Target="../embeddings/oleObject17.bin"/><Relationship Id="rId5" Type="http://schemas.openxmlformats.org/officeDocument/2006/relationships/notesSlide" Target="../notesSlides/notesSlide1.xml"/><Relationship Id="rId4"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3" Type="http://schemas.openxmlformats.org/officeDocument/2006/relationships/tags" Target="../tags/tag73.xml"/><Relationship Id="rId7" Type="http://schemas.openxmlformats.org/officeDocument/2006/relationships/image" Target="../media/image13.emf"/><Relationship Id="rId2" Type="http://schemas.openxmlformats.org/officeDocument/2006/relationships/tags" Target="../tags/tag72.xml"/><Relationship Id="rId1" Type="http://schemas.openxmlformats.org/officeDocument/2006/relationships/tags" Target="../tags/tag71.xml"/><Relationship Id="rId6" Type="http://schemas.openxmlformats.org/officeDocument/2006/relationships/oleObject" Target="../embeddings/oleObject18.bin"/><Relationship Id="rId5" Type="http://schemas.openxmlformats.org/officeDocument/2006/relationships/notesSlide" Target="../notesSlides/notesSlide2.xml"/><Relationship Id="rId4" Type="http://schemas.openxmlformats.org/officeDocument/2006/relationships/slideLayout" Target="../slideLayouts/slideLayout34.xml"/></Relationships>
</file>

<file path=ppt/slides/_rels/slide6.xml.rels><?xml version="1.0" encoding="UTF-8" standalone="yes"?>
<Relationships xmlns="http://schemas.openxmlformats.org/package/2006/relationships"><Relationship Id="rId3" Type="http://schemas.openxmlformats.org/officeDocument/2006/relationships/tags" Target="../tags/tag76.xml"/><Relationship Id="rId7" Type="http://schemas.openxmlformats.org/officeDocument/2006/relationships/image" Target="../media/image13.emf"/><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oleObject" Target="../embeddings/oleObject18.bin"/><Relationship Id="rId5" Type="http://schemas.openxmlformats.org/officeDocument/2006/relationships/notesSlide" Target="../notesSlides/notesSlide3.xml"/><Relationship Id="rId4" Type="http://schemas.openxmlformats.org/officeDocument/2006/relationships/slideLayout" Target="../slideLayouts/slideLayout3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23DBC65-750B-4118-8F67-02E92516C015}"/>
              </a:ext>
            </a:extLst>
          </p:cNvPr>
          <p:cNvSpPr>
            <a:spLocks noGrp="1"/>
          </p:cNvSpPr>
          <p:nvPr>
            <p:ph type="ctrTitle"/>
          </p:nvPr>
        </p:nvSpPr>
        <p:spPr>
          <a:xfrm>
            <a:off x="1073219" y="1022465"/>
            <a:ext cx="9822433" cy="3138423"/>
          </a:xfrm>
        </p:spPr>
        <p:txBody>
          <a:bodyPr>
            <a:normAutofit fontScale="90000"/>
          </a:bodyPr>
          <a:lstStyle/>
          <a:p>
            <a:r>
              <a:rPr lang="en-US" dirty="0"/>
              <a:t>Gripe: Operational Excellence Initiative</a:t>
            </a:r>
            <a:br>
              <a:rPr lang="en-US" dirty="0"/>
            </a:br>
            <a:br>
              <a:rPr lang="en-US" dirty="0"/>
            </a:br>
            <a:r>
              <a:rPr lang="en-US" sz="4000" dirty="0"/>
              <a:t>Manufacturing Optimization Assessment</a:t>
            </a:r>
            <a:br>
              <a:rPr lang="en-US" sz="4000" dirty="0"/>
            </a:br>
            <a:r>
              <a:rPr lang="en-US" sz="4000" dirty="0"/>
              <a:t>Q4 2024</a:t>
            </a:r>
          </a:p>
        </p:txBody>
      </p:sp>
    </p:spTree>
    <p:extLst>
      <p:ext uri="{BB962C8B-B14F-4D97-AF65-F5344CB8AC3E}">
        <p14:creationId xmlns:p14="http://schemas.microsoft.com/office/powerpoint/2010/main" val="38209979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3CB573F-C247-4872-B47A-37C7D71A69FA}"/>
              </a:ext>
            </a:extLst>
          </p:cNvPr>
          <p:cNvSpPr>
            <a:spLocks noGrp="1"/>
          </p:cNvSpPr>
          <p:nvPr>
            <p:ph type="title"/>
          </p:nvPr>
        </p:nvSpPr>
        <p:spPr/>
        <p:txBody>
          <a:bodyPr/>
          <a:lstStyle/>
          <a:p>
            <a:r>
              <a:rPr lang="en-US" dirty="0"/>
              <a:t>Overview and Key Findings</a:t>
            </a:r>
          </a:p>
        </p:txBody>
      </p:sp>
      <p:sp>
        <p:nvSpPr>
          <p:cNvPr id="2" name="Text Placeholder 1">
            <a:extLst>
              <a:ext uri="{FF2B5EF4-FFF2-40B4-BE49-F238E27FC236}">
                <a16:creationId xmlns:a16="http://schemas.microsoft.com/office/drawing/2014/main" id="{CE0A17DD-C931-B15C-68B6-E928600AF06C}"/>
              </a:ext>
            </a:extLst>
          </p:cNvPr>
          <p:cNvSpPr>
            <a:spLocks noGrp="1"/>
          </p:cNvSpPr>
          <p:nvPr>
            <p:ph type="body" sz="quarter" idx="10"/>
          </p:nvPr>
        </p:nvSpPr>
        <p:spPr>
          <a:xfrm>
            <a:off x="630000" y="1384434"/>
            <a:ext cx="10933801" cy="4850766"/>
          </a:xfrm>
        </p:spPr>
        <p:txBody>
          <a:bodyPr/>
          <a:lstStyle/>
          <a:p>
            <a:r>
              <a:rPr lang="en-US" dirty="0"/>
              <a:t>Key Findings:</a:t>
            </a:r>
          </a:p>
          <a:p>
            <a:r>
              <a:rPr lang="en-US" dirty="0"/>
              <a:t>1. Current production capacity: 2.4M units/year at Honolulu facility</a:t>
            </a:r>
          </a:p>
          <a:p>
            <a:r>
              <a:rPr lang="en-US" dirty="0"/>
              <a:t>2. Operating costs 23% above industry benchmark</a:t>
            </a:r>
          </a:p>
          <a:p>
            <a:r>
              <a:rPr lang="en-US" dirty="0"/>
              <a:t>3. Employee turnover rate of 34% in manufacturing roles</a:t>
            </a:r>
          </a:p>
          <a:p>
            <a:r>
              <a:rPr lang="en-US" dirty="0"/>
              <a:t>4. $18.5M in annual waste and inefficiency identified</a:t>
            </a:r>
          </a:p>
          <a:p>
            <a:endParaRPr lang="en-US" dirty="0"/>
          </a:p>
          <a:p>
            <a:r>
              <a:rPr lang="en-US" dirty="0"/>
              <a:t>Recommendation: 3-phase transformation targeting $12M in savings</a:t>
            </a:r>
          </a:p>
          <a:p>
            <a:endParaRPr lang="en-US" dirty="0"/>
          </a:p>
          <a:p>
            <a:r>
              <a:rPr lang="en-US" dirty="0"/>
              <a:t>Engagement Team: Michael Roberts (Partner), Lisa Wong (Manager)</a:t>
            </a:r>
          </a:p>
          <a:p>
            <a:pPr>
              <a:buNone/>
            </a:pPr>
            <a:endParaRPr lang="en-US" dirty="0"/>
          </a:p>
        </p:txBody>
      </p:sp>
    </p:spTree>
    <p:extLst>
      <p:ext uri="{BB962C8B-B14F-4D97-AF65-F5344CB8AC3E}">
        <p14:creationId xmlns:p14="http://schemas.microsoft.com/office/powerpoint/2010/main" val="33443413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3CB573F-C247-4872-B47A-37C7D71A69FA}"/>
              </a:ext>
            </a:extLst>
          </p:cNvPr>
          <p:cNvSpPr>
            <a:spLocks noGrp="1"/>
          </p:cNvSpPr>
          <p:nvPr>
            <p:ph type="title"/>
          </p:nvPr>
        </p:nvSpPr>
        <p:spPr/>
        <p:txBody>
          <a:bodyPr/>
          <a:lstStyle/>
          <a:p>
            <a:r>
              <a:rPr lang="en-US" dirty="0"/>
              <a:t>About Gripe Manufacturing</a:t>
            </a:r>
          </a:p>
        </p:txBody>
      </p:sp>
      <p:sp>
        <p:nvSpPr>
          <p:cNvPr id="8" name="TextBox 7">
            <a:extLst>
              <a:ext uri="{FF2B5EF4-FFF2-40B4-BE49-F238E27FC236}">
                <a16:creationId xmlns:a16="http://schemas.microsoft.com/office/drawing/2014/main" id="{FAD746FD-D1D4-4A17-A789-8A9CCFF846C1}"/>
              </a:ext>
            </a:extLst>
          </p:cNvPr>
          <p:cNvSpPr txBox="1"/>
          <p:nvPr/>
        </p:nvSpPr>
        <p:spPr>
          <a:xfrm>
            <a:off x="541564" y="1234001"/>
            <a:ext cx="6011636" cy="438999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2000" dirty="0">
                <a:solidFill>
                  <a:schemeClr val="tx1"/>
                </a:solidFill>
              </a:rPr>
              <a:t>Gripe is Hawaii's largest industrial equipment manufacturer, operating since 1987.</a:t>
            </a:r>
          </a:p>
          <a:p>
            <a:endParaRPr lang="en-US" sz="2000" dirty="0">
              <a:solidFill>
                <a:schemeClr val="tx1"/>
              </a:solidFill>
            </a:endParaRPr>
          </a:p>
          <a:p>
            <a:r>
              <a:rPr lang="en-US" sz="2000" dirty="0">
                <a:solidFill>
                  <a:schemeClr val="tx1"/>
                </a:solidFill>
              </a:rPr>
              <a:t>• Headquarters: 1250 Kalakaua Avenue, Honolulu, HI</a:t>
            </a:r>
          </a:p>
          <a:p>
            <a:r>
              <a:rPr lang="en-US" sz="2000" dirty="0">
                <a:solidFill>
                  <a:schemeClr val="tx1"/>
                </a:solidFill>
              </a:rPr>
              <a:t>• Annual revenue: $247 million (FY 2023)</a:t>
            </a:r>
          </a:p>
          <a:p>
            <a:r>
              <a:rPr lang="en-US" sz="2000" dirty="0">
                <a:solidFill>
                  <a:schemeClr val="tx1"/>
                </a:solidFill>
              </a:rPr>
              <a:t>• Workforce: 1,850 employees across 3 facilities</a:t>
            </a:r>
          </a:p>
          <a:p>
            <a:r>
              <a:rPr lang="en-US" sz="2000" dirty="0">
                <a:solidFill>
                  <a:schemeClr val="tx1"/>
                </a:solidFill>
              </a:rPr>
              <a:t>• Primary customers: Boeing, Caterpillar, Lockheed Martin</a:t>
            </a:r>
          </a:p>
          <a:p>
            <a:r>
              <a:rPr lang="en-US" sz="2000" dirty="0">
                <a:solidFill>
                  <a:schemeClr val="tx1"/>
                </a:solidFill>
              </a:rPr>
              <a:t>• Market share: 18% in Pacific Rim region</a:t>
            </a:r>
          </a:p>
          <a:p>
            <a:endParaRPr lang="en-US" sz="2000" dirty="0">
              <a:solidFill>
                <a:schemeClr val="tx1"/>
              </a:solidFill>
            </a:endParaRPr>
          </a:p>
          <a:p>
            <a:r>
              <a:rPr lang="en-US" sz="2000" dirty="0">
                <a:solidFill>
                  <a:schemeClr val="tx1"/>
                </a:solidFill>
              </a:rPr>
              <a:t>Contact: </a:t>
            </a:r>
            <a:r>
              <a:rPr lang="en-US" sz="2000" dirty="0" err="1">
                <a:solidFill>
                  <a:schemeClr val="tx1"/>
                </a:solidFill>
              </a:rPr>
              <a:t>jchen@gripe-mfg.com</a:t>
            </a:r>
            <a:r>
              <a:rPr lang="en-US" sz="2000" dirty="0">
                <a:solidFill>
                  <a:schemeClr val="tx1"/>
                </a:solidFill>
              </a:rPr>
              <a:t> | (808) 555-2847</a:t>
            </a:r>
          </a:p>
        </p:txBody>
      </p:sp>
    </p:spTree>
    <p:extLst>
      <p:ext uri="{BB962C8B-B14F-4D97-AF65-F5344CB8AC3E}">
        <p14:creationId xmlns:p14="http://schemas.microsoft.com/office/powerpoint/2010/main" val="22111856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52" imgH="355" progId="TCLayout.ActiveDocument.1">
                  <p:embed/>
                </p:oleObj>
              </mc:Choice>
              <mc:Fallback>
                <p:oleObj name="think-cell Slide" r:id="rId6" imgW="352" imgH="355" progId="TCLayout.ActiveDocument.1">
                  <p:embed/>
                  <p:pic>
                    <p:nvPicPr>
                      <p:cNvPr id="2" name="Object 1"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solidFill>
            <a:srgbClr val="DBDCDD"/>
          </a:solidFill>
          <a:ln w="9525" cap="rnd" cmpd="sng" algn="ctr">
            <a:solidFill>
              <a:srgbClr val="DBDCDD"/>
            </a:solidFill>
            <a:prstDash val="solid"/>
            <a:roun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000" kern="0" dirty="0">
              <a:solidFill>
                <a:srgbClr val="000000"/>
              </a:solidFill>
              <a:latin typeface="Trebuchet MS" panose="020B0603020202020204" pitchFamily="34" charset="0"/>
              <a:ea typeface="+mj-ea"/>
              <a:cs typeface="+mj-cs"/>
              <a:sym typeface="Trebuchet MS" panose="020B0603020202020204" pitchFamily="34" charset="0"/>
            </a:endParaRPr>
          </a:p>
        </p:txBody>
      </p:sp>
      <p:sp>
        <p:nvSpPr>
          <p:cNvPr id="4" name="Title 3"/>
          <p:cNvSpPr>
            <a:spLocks noGrp="1"/>
          </p:cNvSpPr>
          <p:nvPr>
            <p:ph type="title"/>
          </p:nvPr>
        </p:nvSpPr>
        <p:spPr>
          <a:xfrm>
            <a:off x="630000" y="2484660"/>
            <a:ext cx="3865800" cy="1495794"/>
          </a:xfrm>
        </p:spPr>
        <p:txBody>
          <a:bodyPr/>
          <a:lstStyle/>
          <a:p>
            <a:r>
              <a:rPr lang="en-US" dirty="0"/>
              <a:t>Context setting </a:t>
            </a:r>
            <a:br>
              <a:rPr lang="en-US" dirty="0"/>
            </a:br>
            <a:r>
              <a:rPr lang="en-US" sz="2000" dirty="0"/>
              <a:t>Financial Performance Analysis</a:t>
            </a:r>
            <a:endParaRPr lang="en-US" dirty="0"/>
          </a:p>
        </p:txBody>
      </p:sp>
      <p:grpSp>
        <p:nvGrpSpPr>
          <p:cNvPr id="33" name="Group 32">
            <a:extLst>
              <a:ext uri="{FF2B5EF4-FFF2-40B4-BE49-F238E27FC236}">
                <a16:creationId xmlns:a16="http://schemas.microsoft.com/office/drawing/2014/main" id="{B48AE79A-A948-4AB8-BC3D-6F3D61A24F49}"/>
              </a:ext>
            </a:extLst>
          </p:cNvPr>
          <p:cNvGrpSpPr>
            <a:grpSpLocks noChangeAspect="1"/>
          </p:cNvGrpSpPr>
          <p:nvPr/>
        </p:nvGrpSpPr>
        <p:grpSpPr>
          <a:xfrm>
            <a:off x="704339" y="2259690"/>
            <a:ext cx="935907" cy="936774"/>
            <a:chOff x="5273801" y="2606040"/>
            <a:chExt cx="1644396" cy="1645920"/>
          </a:xfrm>
        </p:grpSpPr>
        <p:sp>
          <p:nvSpPr>
            <p:cNvPr id="34" name="AutoShape 23">
              <a:extLst>
                <a:ext uri="{FF2B5EF4-FFF2-40B4-BE49-F238E27FC236}">
                  <a16:creationId xmlns:a16="http://schemas.microsoft.com/office/drawing/2014/main" id="{7D652261-BCB6-4E9F-AFF3-DF31FA58793C}"/>
                </a:ext>
              </a:extLst>
            </p:cNvPr>
            <p:cNvSpPr>
              <a:spLocks noChangeAspect="1" noChangeArrowheads="1" noTextEdit="1"/>
            </p:cNvSpPr>
            <p:nvPr/>
          </p:nvSpPr>
          <p:spPr bwMode="auto">
            <a:xfrm>
              <a:off x="5273801"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35" name="Group 34">
              <a:extLst>
                <a:ext uri="{FF2B5EF4-FFF2-40B4-BE49-F238E27FC236}">
                  <a16:creationId xmlns:a16="http://schemas.microsoft.com/office/drawing/2014/main" id="{F4B4E29C-2677-42A0-8623-45165FAC0C54}"/>
                </a:ext>
              </a:extLst>
            </p:cNvPr>
            <p:cNvGrpSpPr/>
            <p:nvPr/>
          </p:nvGrpSpPr>
          <p:grpSpPr>
            <a:xfrm>
              <a:off x="5343905" y="2928366"/>
              <a:ext cx="1505712" cy="995553"/>
              <a:chOff x="5343905" y="2928366"/>
              <a:chExt cx="1505712" cy="995553"/>
            </a:xfrm>
          </p:grpSpPr>
          <p:sp>
            <p:nvSpPr>
              <p:cNvPr id="36" name="Freeform 25">
                <a:extLst>
                  <a:ext uri="{FF2B5EF4-FFF2-40B4-BE49-F238E27FC236}">
                    <a16:creationId xmlns:a16="http://schemas.microsoft.com/office/drawing/2014/main" id="{88230B6C-816D-497C-A551-395B7BA66DEC}"/>
                  </a:ext>
                </a:extLst>
              </p:cNvPr>
              <p:cNvSpPr>
                <a:spLocks noEditPoints="1"/>
              </p:cNvSpPr>
              <p:nvPr/>
            </p:nvSpPr>
            <p:spPr bwMode="auto">
              <a:xfrm>
                <a:off x="5696330" y="2928366"/>
                <a:ext cx="1153287" cy="654177"/>
              </a:xfrm>
              <a:custGeom>
                <a:avLst/>
                <a:gdLst>
                  <a:gd name="T0" fmla="*/ 1610 w 1616"/>
                  <a:gd name="T1" fmla="*/ 362 h 916"/>
                  <a:gd name="T2" fmla="*/ 1552 w 1616"/>
                  <a:gd name="T3" fmla="*/ 327 h 916"/>
                  <a:gd name="T4" fmla="*/ 1530 w 1616"/>
                  <a:gd name="T5" fmla="*/ 261 h 916"/>
                  <a:gd name="T6" fmla="*/ 1495 w 1616"/>
                  <a:gd name="T7" fmla="*/ 196 h 916"/>
                  <a:gd name="T8" fmla="*/ 1508 w 1616"/>
                  <a:gd name="T9" fmla="*/ 130 h 916"/>
                  <a:gd name="T10" fmla="*/ 1369 w 1616"/>
                  <a:gd name="T11" fmla="*/ 28 h 916"/>
                  <a:gd name="T12" fmla="*/ 1309 w 1616"/>
                  <a:gd name="T13" fmla="*/ 62 h 916"/>
                  <a:gd name="T14" fmla="*/ 1178 w 1616"/>
                  <a:gd name="T15" fmla="*/ 47 h 916"/>
                  <a:gd name="T16" fmla="*/ 1127 w 1616"/>
                  <a:gd name="T17" fmla="*/ 0 h 916"/>
                  <a:gd name="T18" fmla="*/ 1043 w 1616"/>
                  <a:gd name="T19" fmla="*/ 26 h 916"/>
                  <a:gd name="T20" fmla="*/ 967 w 1616"/>
                  <a:gd name="T21" fmla="*/ 69 h 916"/>
                  <a:gd name="T22" fmla="*/ 967 w 1616"/>
                  <a:gd name="T23" fmla="*/ 140 h 916"/>
                  <a:gd name="T24" fmla="*/ 886 w 1616"/>
                  <a:gd name="T25" fmla="*/ 246 h 916"/>
                  <a:gd name="T26" fmla="*/ 821 w 1616"/>
                  <a:gd name="T27" fmla="*/ 267 h 916"/>
                  <a:gd name="T28" fmla="*/ 798 w 1616"/>
                  <a:gd name="T29" fmla="*/ 441 h 916"/>
                  <a:gd name="T30" fmla="*/ 856 w 1616"/>
                  <a:gd name="T31" fmla="*/ 475 h 916"/>
                  <a:gd name="T32" fmla="*/ 879 w 1616"/>
                  <a:gd name="T33" fmla="*/ 546 h 916"/>
                  <a:gd name="T34" fmla="*/ 912 w 1616"/>
                  <a:gd name="T35" fmla="*/ 607 h 916"/>
                  <a:gd name="T36" fmla="*/ 896 w 1616"/>
                  <a:gd name="T37" fmla="*/ 673 h 916"/>
                  <a:gd name="T38" fmla="*/ 1031 w 1616"/>
                  <a:gd name="T39" fmla="*/ 777 h 916"/>
                  <a:gd name="T40" fmla="*/ 1089 w 1616"/>
                  <a:gd name="T41" fmla="*/ 743 h 916"/>
                  <a:gd name="T42" fmla="*/ 1236 w 1616"/>
                  <a:gd name="T43" fmla="*/ 762 h 916"/>
                  <a:gd name="T44" fmla="*/ 1287 w 1616"/>
                  <a:gd name="T45" fmla="*/ 808 h 916"/>
                  <a:gd name="T46" fmla="*/ 1366 w 1616"/>
                  <a:gd name="T47" fmla="*/ 783 h 916"/>
                  <a:gd name="T48" fmla="*/ 1440 w 1616"/>
                  <a:gd name="T49" fmla="*/ 741 h 916"/>
                  <a:gd name="T50" fmla="*/ 1440 w 1616"/>
                  <a:gd name="T51" fmla="*/ 673 h 916"/>
                  <a:gd name="T52" fmla="*/ 1528 w 1616"/>
                  <a:gd name="T53" fmla="*/ 552 h 916"/>
                  <a:gd name="T54" fmla="*/ 1591 w 1616"/>
                  <a:gd name="T55" fmla="*/ 532 h 916"/>
                  <a:gd name="T56" fmla="*/ 1610 w 1616"/>
                  <a:gd name="T57" fmla="*/ 362 h 916"/>
                  <a:gd name="T58" fmla="*/ 1276 w 1616"/>
                  <a:gd name="T59" fmla="*/ 569 h 916"/>
                  <a:gd name="T60" fmla="*/ 1041 w 1616"/>
                  <a:gd name="T61" fmla="*/ 475 h 916"/>
                  <a:gd name="T62" fmla="*/ 1133 w 1616"/>
                  <a:gd name="T63" fmla="*/ 239 h 916"/>
                  <a:gd name="T64" fmla="*/ 1367 w 1616"/>
                  <a:gd name="T65" fmla="*/ 333 h 916"/>
                  <a:gd name="T66" fmla="*/ 1276 w 1616"/>
                  <a:gd name="T67" fmla="*/ 569 h 916"/>
                  <a:gd name="T68" fmla="*/ 187 w 1616"/>
                  <a:gd name="T69" fmla="*/ 916 h 916"/>
                  <a:gd name="T70" fmla="*/ 0 w 1616"/>
                  <a:gd name="T71" fmla="*/ 729 h 916"/>
                  <a:gd name="T72" fmla="*/ 187 w 1616"/>
                  <a:gd name="T73" fmla="*/ 541 h 916"/>
                  <a:gd name="T74" fmla="*/ 375 w 1616"/>
                  <a:gd name="T75" fmla="*/ 729 h 916"/>
                  <a:gd name="T76" fmla="*/ 187 w 1616"/>
                  <a:gd name="T77" fmla="*/ 916 h 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16" h="916">
                    <a:moveTo>
                      <a:pt x="1610" y="362"/>
                    </a:moveTo>
                    <a:cubicBezTo>
                      <a:pt x="1552" y="327"/>
                      <a:pt x="1552" y="327"/>
                      <a:pt x="1552" y="327"/>
                    </a:cubicBezTo>
                    <a:cubicBezTo>
                      <a:pt x="1547" y="305"/>
                      <a:pt x="1539" y="283"/>
                      <a:pt x="1530" y="261"/>
                    </a:cubicBezTo>
                    <a:cubicBezTo>
                      <a:pt x="1521" y="239"/>
                      <a:pt x="1508" y="217"/>
                      <a:pt x="1495" y="196"/>
                    </a:cubicBezTo>
                    <a:cubicBezTo>
                      <a:pt x="1508" y="130"/>
                      <a:pt x="1508" y="130"/>
                      <a:pt x="1508" y="130"/>
                    </a:cubicBezTo>
                    <a:cubicBezTo>
                      <a:pt x="1470" y="87"/>
                      <a:pt x="1421" y="51"/>
                      <a:pt x="1369" y="28"/>
                    </a:cubicBezTo>
                    <a:cubicBezTo>
                      <a:pt x="1309" y="62"/>
                      <a:pt x="1309" y="62"/>
                      <a:pt x="1309" y="62"/>
                    </a:cubicBezTo>
                    <a:cubicBezTo>
                      <a:pt x="1266" y="48"/>
                      <a:pt x="1223" y="43"/>
                      <a:pt x="1178" y="47"/>
                    </a:cubicBezTo>
                    <a:cubicBezTo>
                      <a:pt x="1127" y="0"/>
                      <a:pt x="1127" y="0"/>
                      <a:pt x="1127" y="0"/>
                    </a:cubicBezTo>
                    <a:cubicBezTo>
                      <a:pt x="1099" y="6"/>
                      <a:pt x="1071" y="13"/>
                      <a:pt x="1043" y="26"/>
                    </a:cubicBezTo>
                    <a:cubicBezTo>
                      <a:pt x="1016" y="38"/>
                      <a:pt x="989" y="53"/>
                      <a:pt x="967" y="69"/>
                    </a:cubicBezTo>
                    <a:cubicBezTo>
                      <a:pt x="967" y="140"/>
                      <a:pt x="967" y="140"/>
                      <a:pt x="967" y="140"/>
                    </a:cubicBezTo>
                    <a:cubicBezTo>
                      <a:pt x="933" y="171"/>
                      <a:pt x="905" y="206"/>
                      <a:pt x="886" y="246"/>
                    </a:cubicBezTo>
                    <a:cubicBezTo>
                      <a:pt x="821" y="267"/>
                      <a:pt x="821" y="267"/>
                      <a:pt x="821" y="267"/>
                    </a:cubicBezTo>
                    <a:cubicBezTo>
                      <a:pt x="801" y="321"/>
                      <a:pt x="794" y="380"/>
                      <a:pt x="798" y="441"/>
                    </a:cubicBezTo>
                    <a:cubicBezTo>
                      <a:pt x="856" y="475"/>
                      <a:pt x="856" y="475"/>
                      <a:pt x="856" y="475"/>
                    </a:cubicBezTo>
                    <a:cubicBezTo>
                      <a:pt x="861" y="498"/>
                      <a:pt x="868" y="523"/>
                      <a:pt x="879" y="546"/>
                    </a:cubicBezTo>
                    <a:cubicBezTo>
                      <a:pt x="889" y="567"/>
                      <a:pt x="899" y="588"/>
                      <a:pt x="912" y="607"/>
                    </a:cubicBezTo>
                    <a:cubicBezTo>
                      <a:pt x="896" y="673"/>
                      <a:pt x="896" y="673"/>
                      <a:pt x="896" y="673"/>
                    </a:cubicBezTo>
                    <a:cubicBezTo>
                      <a:pt x="934" y="718"/>
                      <a:pt x="980" y="752"/>
                      <a:pt x="1031" y="777"/>
                    </a:cubicBezTo>
                    <a:cubicBezTo>
                      <a:pt x="1089" y="743"/>
                      <a:pt x="1089" y="743"/>
                      <a:pt x="1089" y="743"/>
                    </a:cubicBezTo>
                    <a:cubicBezTo>
                      <a:pt x="1136" y="760"/>
                      <a:pt x="1185" y="766"/>
                      <a:pt x="1236" y="762"/>
                    </a:cubicBezTo>
                    <a:cubicBezTo>
                      <a:pt x="1287" y="808"/>
                      <a:pt x="1287" y="808"/>
                      <a:pt x="1287" y="808"/>
                    </a:cubicBezTo>
                    <a:cubicBezTo>
                      <a:pt x="1312" y="802"/>
                      <a:pt x="1340" y="794"/>
                      <a:pt x="1366" y="783"/>
                    </a:cubicBezTo>
                    <a:cubicBezTo>
                      <a:pt x="1392" y="771"/>
                      <a:pt x="1416" y="757"/>
                      <a:pt x="1440" y="741"/>
                    </a:cubicBezTo>
                    <a:cubicBezTo>
                      <a:pt x="1440" y="673"/>
                      <a:pt x="1440" y="673"/>
                      <a:pt x="1440" y="673"/>
                    </a:cubicBezTo>
                    <a:cubicBezTo>
                      <a:pt x="1477" y="639"/>
                      <a:pt x="1507" y="597"/>
                      <a:pt x="1528" y="552"/>
                    </a:cubicBezTo>
                    <a:cubicBezTo>
                      <a:pt x="1591" y="532"/>
                      <a:pt x="1591" y="532"/>
                      <a:pt x="1591" y="532"/>
                    </a:cubicBezTo>
                    <a:cubicBezTo>
                      <a:pt x="1610" y="479"/>
                      <a:pt x="1616" y="420"/>
                      <a:pt x="1610" y="362"/>
                    </a:cubicBezTo>
                    <a:close/>
                    <a:moveTo>
                      <a:pt x="1276" y="569"/>
                    </a:moveTo>
                    <a:cubicBezTo>
                      <a:pt x="1185" y="610"/>
                      <a:pt x="1080" y="566"/>
                      <a:pt x="1041" y="475"/>
                    </a:cubicBezTo>
                    <a:cubicBezTo>
                      <a:pt x="1002" y="383"/>
                      <a:pt x="1043" y="278"/>
                      <a:pt x="1133" y="239"/>
                    </a:cubicBezTo>
                    <a:cubicBezTo>
                      <a:pt x="1224" y="199"/>
                      <a:pt x="1330" y="242"/>
                      <a:pt x="1367" y="333"/>
                    </a:cubicBezTo>
                    <a:cubicBezTo>
                      <a:pt x="1407" y="424"/>
                      <a:pt x="1366" y="531"/>
                      <a:pt x="1276" y="569"/>
                    </a:cubicBezTo>
                    <a:close/>
                    <a:moveTo>
                      <a:pt x="187" y="916"/>
                    </a:moveTo>
                    <a:cubicBezTo>
                      <a:pt x="84" y="916"/>
                      <a:pt x="0" y="832"/>
                      <a:pt x="0" y="729"/>
                    </a:cubicBezTo>
                    <a:cubicBezTo>
                      <a:pt x="0" y="625"/>
                      <a:pt x="84" y="541"/>
                      <a:pt x="187" y="541"/>
                    </a:cubicBezTo>
                    <a:cubicBezTo>
                      <a:pt x="291" y="541"/>
                      <a:pt x="375" y="625"/>
                      <a:pt x="375" y="729"/>
                    </a:cubicBezTo>
                    <a:cubicBezTo>
                      <a:pt x="375" y="832"/>
                      <a:pt x="291" y="916"/>
                      <a:pt x="187" y="916"/>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Freeform 26">
                <a:extLst>
                  <a:ext uri="{FF2B5EF4-FFF2-40B4-BE49-F238E27FC236}">
                    <a16:creationId xmlns:a16="http://schemas.microsoft.com/office/drawing/2014/main" id="{E590E31A-534C-4B9A-9061-F9B1F9EBEF0F}"/>
                  </a:ext>
                </a:extLst>
              </p:cNvPr>
              <p:cNvSpPr>
                <a:spLocks noEditPoints="1"/>
              </p:cNvSpPr>
              <p:nvPr/>
            </p:nvSpPr>
            <p:spPr bwMode="auto">
              <a:xfrm>
                <a:off x="5343905" y="2961132"/>
                <a:ext cx="971931" cy="962787"/>
              </a:xfrm>
              <a:custGeom>
                <a:avLst/>
                <a:gdLst>
                  <a:gd name="T0" fmla="*/ 638 w 1362"/>
                  <a:gd name="T1" fmla="*/ 1242 h 1348"/>
                  <a:gd name="T2" fmla="*/ 448 w 1362"/>
                  <a:gd name="T3" fmla="*/ 1319 h 1348"/>
                  <a:gd name="T4" fmla="*/ 352 w 1362"/>
                  <a:gd name="T5" fmla="*/ 1146 h 1348"/>
                  <a:gd name="T6" fmla="*/ 141 w 1362"/>
                  <a:gd name="T7" fmla="*/ 1095 h 1348"/>
                  <a:gd name="T8" fmla="*/ 46 w 1362"/>
                  <a:gd name="T9" fmla="*/ 928 h 1348"/>
                  <a:gd name="T10" fmla="*/ 0 w 1362"/>
                  <a:gd name="T11" fmla="*/ 664 h 1348"/>
                  <a:gd name="T12" fmla="*/ 32 w 1362"/>
                  <a:gd name="T13" fmla="*/ 474 h 1348"/>
                  <a:gd name="T14" fmla="*/ 212 w 1362"/>
                  <a:gd name="T15" fmla="*/ 351 h 1348"/>
                  <a:gd name="T16" fmla="*/ 244 w 1362"/>
                  <a:gd name="T17" fmla="*/ 159 h 1348"/>
                  <a:gd name="T18" fmla="*/ 451 w 1362"/>
                  <a:gd name="T19" fmla="*/ 167 h 1348"/>
                  <a:gd name="T20" fmla="*/ 592 w 1362"/>
                  <a:gd name="T21" fmla="*/ 5 h 1348"/>
                  <a:gd name="T22" fmla="*/ 784 w 1362"/>
                  <a:gd name="T23" fmla="*/ 6 h 1348"/>
                  <a:gd name="T24" fmla="*/ 1036 w 1362"/>
                  <a:gd name="T25" fmla="*/ 98 h 1348"/>
                  <a:gd name="T26" fmla="*/ 1184 w 1362"/>
                  <a:gd name="T27" fmla="*/ 220 h 1348"/>
                  <a:gd name="T28" fmla="*/ 1206 w 1362"/>
                  <a:gd name="T29" fmla="*/ 440 h 1348"/>
                  <a:gd name="T30" fmla="*/ 1351 w 1362"/>
                  <a:gd name="T31" fmla="*/ 562 h 1348"/>
                  <a:gd name="T32" fmla="*/ 1262 w 1362"/>
                  <a:gd name="T33" fmla="*/ 724 h 1348"/>
                  <a:gd name="T34" fmla="*/ 1310 w 1362"/>
                  <a:gd name="T35" fmla="*/ 940 h 1348"/>
                  <a:gd name="T36" fmla="*/ 1213 w 1362"/>
                  <a:gd name="T37" fmla="*/ 1106 h 1348"/>
                  <a:gd name="T38" fmla="*/ 1008 w 1362"/>
                  <a:gd name="T39" fmla="*/ 1278 h 1348"/>
                  <a:gd name="T40" fmla="*/ 828 w 1362"/>
                  <a:gd name="T41" fmla="*/ 1345 h 1348"/>
                  <a:gd name="T42" fmla="*/ 830 w 1362"/>
                  <a:gd name="T43" fmla="*/ 1299 h 1348"/>
                  <a:gd name="T44" fmla="*/ 965 w 1362"/>
                  <a:gd name="T45" fmla="*/ 1122 h 1348"/>
                  <a:gd name="T46" fmla="*/ 1072 w 1362"/>
                  <a:gd name="T47" fmla="*/ 1038 h 1348"/>
                  <a:gd name="T48" fmla="*/ 1264 w 1362"/>
                  <a:gd name="T49" fmla="*/ 935 h 1348"/>
                  <a:gd name="T50" fmla="*/ 1219 w 1362"/>
                  <a:gd name="T51" fmla="*/ 710 h 1348"/>
                  <a:gd name="T52" fmla="*/ 1308 w 1362"/>
                  <a:gd name="T53" fmla="*/ 570 h 1348"/>
                  <a:gd name="T54" fmla="*/ 1171 w 1362"/>
                  <a:gd name="T55" fmla="*/ 469 h 1348"/>
                  <a:gd name="T56" fmla="*/ 1142 w 1362"/>
                  <a:gd name="T57" fmla="*/ 241 h 1348"/>
                  <a:gd name="T58" fmla="*/ 915 w 1362"/>
                  <a:gd name="T59" fmla="*/ 217 h 1348"/>
                  <a:gd name="T60" fmla="*/ 802 w 1362"/>
                  <a:gd name="T61" fmla="*/ 179 h 1348"/>
                  <a:gd name="T62" fmla="*/ 610 w 1362"/>
                  <a:gd name="T63" fmla="*/ 47 h 1348"/>
                  <a:gd name="T64" fmla="*/ 458 w 1362"/>
                  <a:gd name="T65" fmla="*/ 212 h 1348"/>
                  <a:gd name="T66" fmla="*/ 272 w 1362"/>
                  <a:gd name="T67" fmla="*/ 192 h 1348"/>
                  <a:gd name="T68" fmla="*/ 254 w 1362"/>
                  <a:gd name="T69" fmla="*/ 369 h 1348"/>
                  <a:gd name="T70" fmla="*/ 70 w 1362"/>
                  <a:gd name="T71" fmla="*/ 500 h 1348"/>
                  <a:gd name="T72" fmla="*/ 143 w 1362"/>
                  <a:gd name="T73" fmla="*/ 698 h 1348"/>
                  <a:gd name="T74" fmla="*/ 170 w 1362"/>
                  <a:gd name="T75" fmla="*/ 846 h 1348"/>
                  <a:gd name="T76" fmla="*/ 168 w 1362"/>
                  <a:gd name="T77" fmla="*/ 1058 h 1348"/>
                  <a:gd name="T78" fmla="*/ 386 w 1362"/>
                  <a:gd name="T79" fmla="*/ 1115 h 1348"/>
                  <a:gd name="T80" fmla="*/ 463 w 1362"/>
                  <a:gd name="T81" fmla="*/ 1278 h 1348"/>
                  <a:gd name="T82" fmla="*/ 630 w 1362"/>
                  <a:gd name="T83" fmla="*/ 1198 h 1348"/>
                  <a:gd name="T84" fmla="*/ 742 w 1362"/>
                  <a:gd name="T85" fmla="*/ 1197 h 1348"/>
                  <a:gd name="T86" fmla="*/ 681 w 1362"/>
                  <a:gd name="T87" fmla="*/ 257 h 1348"/>
                  <a:gd name="T88" fmla="*/ 681 w 1362"/>
                  <a:gd name="T89" fmla="*/ 301 h 1348"/>
                  <a:gd name="T90" fmla="*/ 1063 w 1362"/>
                  <a:gd name="T91" fmla="*/ 683 h 1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62" h="1348">
                    <a:moveTo>
                      <a:pt x="815" y="1348"/>
                    </a:moveTo>
                    <a:cubicBezTo>
                      <a:pt x="724" y="1242"/>
                      <a:pt x="724" y="1242"/>
                      <a:pt x="724" y="1242"/>
                    </a:cubicBezTo>
                    <a:cubicBezTo>
                      <a:pt x="695" y="1244"/>
                      <a:pt x="666" y="1244"/>
                      <a:pt x="638" y="1242"/>
                    </a:cubicBezTo>
                    <a:cubicBezTo>
                      <a:pt x="547" y="1348"/>
                      <a:pt x="547" y="1348"/>
                      <a:pt x="547" y="1348"/>
                    </a:cubicBezTo>
                    <a:cubicBezTo>
                      <a:pt x="534" y="1345"/>
                      <a:pt x="534" y="1345"/>
                      <a:pt x="534" y="1345"/>
                    </a:cubicBezTo>
                    <a:cubicBezTo>
                      <a:pt x="494" y="1336"/>
                      <a:pt x="450" y="1320"/>
                      <a:pt x="448" y="1319"/>
                    </a:cubicBezTo>
                    <a:cubicBezTo>
                      <a:pt x="446" y="1318"/>
                      <a:pt x="402" y="1302"/>
                      <a:pt x="366" y="1284"/>
                    </a:cubicBezTo>
                    <a:cubicBezTo>
                      <a:pt x="354" y="1278"/>
                      <a:pt x="354" y="1278"/>
                      <a:pt x="354" y="1278"/>
                    </a:cubicBezTo>
                    <a:cubicBezTo>
                      <a:pt x="352" y="1146"/>
                      <a:pt x="352" y="1146"/>
                      <a:pt x="352" y="1146"/>
                    </a:cubicBezTo>
                    <a:cubicBezTo>
                      <a:pt x="325" y="1128"/>
                      <a:pt x="299" y="1107"/>
                      <a:pt x="275" y="1085"/>
                    </a:cubicBezTo>
                    <a:cubicBezTo>
                      <a:pt x="149" y="1105"/>
                      <a:pt x="149" y="1105"/>
                      <a:pt x="149" y="1105"/>
                    </a:cubicBezTo>
                    <a:cubicBezTo>
                      <a:pt x="141" y="1095"/>
                      <a:pt x="141" y="1095"/>
                      <a:pt x="141" y="1095"/>
                    </a:cubicBezTo>
                    <a:cubicBezTo>
                      <a:pt x="116" y="1062"/>
                      <a:pt x="93" y="1022"/>
                      <a:pt x="92" y="1020"/>
                    </a:cubicBezTo>
                    <a:cubicBezTo>
                      <a:pt x="91" y="1018"/>
                      <a:pt x="67" y="977"/>
                      <a:pt x="51" y="940"/>
                    </a:cubicBezTo>
                    <a:cubicBezTo>
                      <a:pt x="46" y="928"/>
                      <a:pt x="46" y="928"/>
                      <a:pt x="46" y="928"/>
                    </a:cubicBezTo>
                    <a:cubicBezTo>
                      <a:pt x="121" y="836"/>
                      <a:pt x="121" y="836"/>
                      <a:pt x="121" y="836"/>
                    </a:cubicBezTo>
                    <a:cubicBezTo>
                      <a:pt x="110" y="799"/>
                      <a:pt x="104" y="762"/>
                      <a:pt x="101" y="724"/>
                    </a:cubicBezTo>
                    <a:cubicBezTo>
                      <a:pt x="0" y="664"/>
                      <a:pt x="0" y="664"/>
                      <a:pt x="0" y="664"/>
                    </a:cubicBezTo>
                    <a:cubicBezTo>
                      <a:pt x="1" y="650"/>
                      <a:pt x="1" y="650"/>
                      <a:pt x="1" y="650"/>
                    </a:cubicBezTo>
                    <a:cubicBezTo>
                      <a:pt x="3" y="610"/>
                      <a:pt x="11" y="564"/>
                      <a:pt x="11" y="562"/>
                    </a:cubicBezTo>
                    <a:cubicBezTo>
                      <a:pt x="12" y="560"/>
                      <a:pt x="20" y="513"/>
                      <a:pt x="32" y="474"/>
                    </a:cubicBezTo>
                    <a:cubicBezTo>
                      <a:pt x="35" y="462"/>
                      <a:pt x="35" y="462"/>
                      <a:pt x="35" y="462"/>
                    </a:cubicBezTo>
                    <a:cubicBezTo>
                      <a:pt x="157" y="439"/>
                      <a:pt x="157" y="439"/>
                      <a:pt x="157" y="439"/>
                    </a:cubicBezTo>
                    <a:cubicBezTo>
                      <a:pt x="173" y="408"/>
                      <a:pt x="191" y="378"/>
                      <a:pt x="212" y="351"/>
                    </a:cubicBezTo>
                    <a:cubicBezTo>
                      <a:pt x="170" y="230"/>
                      <a:pt x="170" y="230"/>
                      <a:pt x="170" y="230"/>
                    </a:cubicBezTo>
                    <a:cubicBezTo>
                      <a:pt x="179" y="220"/>
                      <a:pt x="179" y="220"/>
                      <a:pt x="179" y="220"/>
                    </a:cubicBezTo>
                    <a:cubicBezTo>
                      <a:pt x="206" y="190"/>
                      <a:pt x="243" y="160"/>
                      <a:pt x="244" y="159"/>
                    </a:cubicBezTo>
                    <a:cubicBezTo>
                      <a:pt x="246" y="157"/>
                      <a:pt x="282" y="127"/>
                      <a:pt x="316" y="105"/>
                    </a:cubicBezTo>
                    <a:cubicBezTo>
                      <a:pt x="327" y="98"/>
                      <a:pt x="327" y="98"/>
                      <a:pt x="327" y="98"/>
                    </a:cubicBezTo>
                    <a:cubicBezTo>
                      <a:pt x="451" y="167"/>
                      <a:pt x="451" y="167"/>
                      <a:pt x="451" y="167"/>
                    </a:cubicBezTo>
                    <a:cubicBezTo>
                      <a:pt x="476" y="157"/>
                      <a:pt x="502" y="148"/>
                      <a:pt x="528" y="142"/>
                    </a:cubicBezTo>
                    <a:cubicBezTo>
                      <a:pt x="579" y="6"/>
                      <a:pt x="579" y="6"/>
                      <a:pt x="579" y="6"/>
                    </a:cubicBezTo>
                    <a:cubicBezTo>
                      <a:pt x="592" y="5"/>
                      <a:pt x="592" y="5"/>
                      <a:pt x="592" y="5"/>
                    </a:cubicBezTo>
                    <a:cubicBezTo>
                      <a:pt x="632" y="0"/>
                      <a:pt x="679" y="0"/>
                      <a:pt x="681" y="0"/>
                    </a:cubicBezTo>
                    <a:cubicBezTo>
                      <a:pt x="683" y="0"/>
                      <a:pt x="730" y="0"/>
                      <a:pt x="771" y="5"/>
                    </a:cubicBezTo>
                    <a:cubicBezTo>
                      <a:pt x="784" y="6"/>
                      <a:pt x="784" y="6"/>
                      <a:pt x="784" y="6"/>
                    </a:cubicBezTo>
                    <a:cubicBezTo>
                      <a:pt x="835" y="142"/>
                      <a:pt x="835" y="142"/>
                      <a:pt x="835" y="142"/>
                    </a:cubicBezTo>
                    <a:cubicBezTo>
                      <a:pt x="861" y="149"/>
                      <a:pt x="887" y="157"/>
                      <a:pt x="912" y="168"/>
                    </a:cubicBezTo>
                    <a:cubicBezTo>
                      <a:pt x="1036" y="98"/>
                      <a:pt x="1036" y="98"/>
                      <a:pt x="1036" y="98"/>
                    </a:cubicBezTo>
                    <a:cubicBezTo>
                      <a:pt x="1047" y="105"/>
                      <a:pt x="1047" y="105"/>
                      <a:pt x="1047" y="105"/>
                    </a:cubicBezTo>
                    <a:cubicBezTo>
                      <a:pt x="1081" y="128"/>
                      <a:pt x="1117" y="158"/>
                      <a:pt x="1118" y="159"/>
                    </a:cubicBezTo>
                    <a:cubicBezTo>
                      <a:pt x="1120" y="160"/>
                      <a:pt x="1156" y="191"/>
                      <a:pt x="1184" y="220"/>
                    </a:cubicBezTo>
                    <a:cubicBezTo>
                      <a:pt x="1193" y="230"/>
                      <a:pt x="1193" y="230"/>
                      <a:pt x="1193" y="230"/>
                    </a:cubicBezTo>
                    <a:cubicBezTo>
                      <a:pt x="1151" y="351"/>
                      <a:pt x="1151" y="351"/>
                      <a:pt x="1151" y="351"/>
                    </a:cubicBezTo>
                    <a:cubicBezTo>
                      <a:pt x="1172" y="379"/>
                      <a:pt x="1190" y="408"/>
                      <a:pt x="1206" y="440"/>
                    </a:cubicBezTo>
                    <a:cubicBezTo>
                      <a:pt x="1327" y="462"/>
                      <a:pt x="1327" y="462"/>
                      <a:pt x="1327" y="462"/>
                    </a:cubicBezTo>
                    <a:cubicBezTo>
                      <a:pt x="1331" y="475"/>
                      <a:pt x="1331" y="475"/>
                      <a:pt x="1331" y="475"/>
                    </a:cubicBezTo>
                    <a:cubicBezTo>
                      <a:pt x="1342" y="514"/>
                      <a:pt x="1351" y="560"/>
                      <a:pt x="1351" y="562"/>
                    </a:cubicBezTo>
                    <a:cubicBezTo>
                      <a:pt x="1351" y="564"/>
                      <a:pt x="1359" y="611"/>
                      <a:pt x="1362" y="651"/>
                    </a:cubicBezTo>
                    <a:cubicBezTo>
                      <a:pt x="1362" y="664"/>
                      <a:pt x="1362" y="664"/>
                      <a:pt x="1362" y="664"/>
                    </a:cubicBezTo>
                    <a:cubicBezTo>
                      <a:pt x="1262" y="724"/>
                      <a:pt x="1262" y="724"/>
                      <a:pt x="1262" y="724"/>
                    </a:cubicBezTo>
                    <a:cubicBezTo>
                      <a:pt x="1259" y="762"/>
                      <a:pt x="1252" y="800"/>
                      <a:pt x="1241" y="837"/>
                    </a:cubicBezTo>
                    <a:cubicBezTo>
                      <a:pt x="1316" y="928"/>
                      <a:pt x="1316" y="928"/>
                      <a:pt x="1316" y="928"/>
                    </a:cubicBezTo>
                    <a:cubicBezTo>
                      <a:pt x="1310" y="940"/>
                      <a:pt x="1310" y="940"/>
                      <a:pt x="1310" y="940"/>
                    </a:cubicBezTo>
                    <a:cubicBezTo>
                      <a:pt x="1294" y="978"/>
                      <a:pt x="1271" y="1019"/>
                      <a:pt x="1270" y="1020"/>
                    </a:cubicBezTo>
                    <a:cubicBezTo>
                      <a:pt x="1269" y="1022"/>
                      <a:pt x="1245" y="1063"/>
                      <a:pt x="1221" y="1095"/>
                    </a:cubicBezTo>
                    <a:cubicBezTo>
                      <a:pt x="1213" y="1106"/>
                      <a:pt x="1213" y="1106"/>
                      <a:pt x="1213" y="1106"/>
                    </a:cubicBezTo>
                    <a:cubicBezTo>
                      <a:pt x="1087" y="1085"/>
                      <a:pt x="1087" y="1085"/>
                      <a:pt x="1087" y="1085"/>
                    </a:cubicBezTo>
                    <a:cubicBezTo>
                      <a:pt x="1063" y="1108"/>
                      <a:pt x="1037" y="1128"/>
                      <a:pt x="1009" y="1147"/>
                    </a:cubicBezTo>
                    <a:cubicBezTo>
                      <a:pt x="1008" y="1278"/>
                      <a:pt x="1008" y="1278"/>
                      <a:pt x="1008" y="1278"/>
                    </a:cubicBezTo>
                    <a:cubicBezTo>
                      <a:pt x="996" y="1284"/>
                      <a:pt x="996" y="1284"/>
                      <a:pt x="996" y="1284"/>
                    </a:cubicBezTo>
                    <a:cubicBezTo>
                      <a:pt x="959" y="1302"/>
                      <a:pt x="915" y="1319"/>
                      <a:pt x="913" y="1319"/>
                    </a:cubicBezTo>
                    <a:cubicBezTo>
                      <a:pt x="911" y="1320"/>
                      <a:pt x="867" y="1336"/>
                      <a:pt x="828" y="1345"/>
                    </a:cubicBezTo>
                    <a:lnTo>
                      <a:pt x="815" y="1348"/>
                    </a:lnTo>
                    <a:close/>
                    <a:moveTo>
                      <a:pt x="742" y="1197"/>
                    </a:moveTo>
                    <a:cubicBezTo>
                      <a:pt x="830" y="1299"/>
                      <a:pt x="830" y="1299"/>
                      <a:pt x="830" y="1299"/>
                    </a:cubicBezTo>
                    <a:cubicBezTo>
                      <a:pt x="864" y="1290"/>
                      <a:pt x="898" y="1278"/>
                      <a:pt x="898" y="1278"/>
                    </a:cubicBezTo>
                    <a:cubicBezTo>
                      <a:pt x="899" y="1278"/>
                      <a:pt x="933" y="1265"/>
                      <a:pt x="964" y="1251"/>
                    </a:cubicBezTo>
                    <a:cubicBezTo>
                      <a:pt x="965" y="1122"/>
                      <a:pt x="965" y="1122"/>
                      <a:pt x="965" y="1122"/>
                    </a:cubicBezTo>
                    <a:cubicBezTo>
                      <a:pt x="976" y="1116"/>
                      <a:pt x="976" y="1116"/>
                      <a:pt x="976" y="1116"/>
                    </a:cubicBezTo>
                    <a:cubicBezTo>
                      <a:pt x="1008" y="1096"/>
                      <a:pt x="1037" y="1072"/>
                      <a:pt x="1064" y="1046"/>
                    </a:cubicBezTo>
                    <a:cubicBezTo>
                      <a:pt x="1072" y="1038"/>
                      <a:pt x="1072" y="1038"/>
                      <a:pt x="1072" y="1038"/>
                    </a:cubicBezTo>
                    <a:cubicBezTo>
                      <a:pt x="1193" y="1058"/>
                      <a:pt x="1193" y="1058"/>
                      <a:pt x="1193" y="1058"/>
                    </a:cubicBezTo>
                    <a:cubicBezTo>
                      <a:pt x="1213" y="1030"/>
                      <a:pt x="1232" y="999"/>
                      <a:pt x="1232" y="998"/>
                    </a:cubicBezTo>
                    <a:cubicBezTo>
                      <a:pt x="1232" y="998"/>
                      <a:pt x="1250" y="967"/>
                      <a:pt x="1264" y="935"/>
                    </a:cubicBezTo>
                    <a:cubicBezTo>
                      <a:pt x="1192" y="847"/>
                      <a:pt x="1192" y="847"/>
                      <a:pt x="1192" y="847"/>
                    </a:cubicBezTo>
                    <a:cubicBezTo>
                      <a:pt x="1196" y="835"/>
                      <a:pt x="1196" y="835"/>
                      <a:pt x="1196" y="835"/>
                    </a:cubicBezTo>
                    <a:cubicBezTo>
                      <a:pt x="1209" y="795"/>
                      <a:pt x="1217" y="753"/>
                      <a:pt x="1219" y="710"/>
                    </a:cubicBezTo>
                    <a:cubicBezTo>
                      <a:pt x="1219" y="698"/>
                      <a:pt x="1219" y="698"/>
                      <a:pt x="1219" y="698"/>
                    </a:cubicBezTo>
                    <a:cubicBezTo>
                      <a:pt x="1317" y="640"/>
                      <a:pt x="1317" y="640"/>
                      <a:pt x="1317" y="640"/>
                    </a:cubicBezTo>
                    <a:cubicBezTo>
                      <a:pt x="1314" y="606"/>
                      <a:pt x="1308" y="570"/>
                      <a:pt x="1308" y="570"/>
                    </a:cubicBezTo>
                    <a:cubicBezTo>
                      <a:pt x="1307" y="569"/>
                      <a:pt x="1301" y="534"/>
                      <a:pt x="1292" y="501"/>
                    </a:cubicBezTo>
                    <a:cubicBezTo>
                      <a:pt x="1176" y="479"/>
                      <a:pt x="1176" y="479"/>
                      <a:pt x="1176" y="479"/>
                    </a:cubicBezTo>
                    <a:cubicBezTo>
                      <a:pt x="1171" y="469"/>
                      <a:pt x="1171" y="469"/>
                      <a:pt x="1171" y="469"/>
                    </a:cubicBezTo>
                    <a:cubicBezTo>
                      <a:pt x="1154" y="433"/>
                      <a:pt x="1133" y="400"/>
                      <a:pt x="1109" y="369"/>
                    </a:cubicBezTo>
                    <a:cubicBezTo>
                      <a:pt x="1101" y="359"/>
                      <a:pt x="1101" y="359"/>
                      <a:pt x="1101" y="359"/>
                    </a:cubicBezTo>
                    <a:cubicBezTo>
                      <a:pt x="1142" y="241"/>
                      <a:pt x="1142" y="241"/>
                      <a:pt x="1142" y="241"/>
                    </a:cubicBezTo>
                    <a:cubicBezTo>
                      <a:pt x="1118" y="216"/>
                      <a:pt x="1090" y="193"/>
                      <a:pt x="1090" y="193"/>
                    </a:cubicBezTo>
                    <a:cubicBezTo>
                      <a:pt x="1090" y="193"/>
                      <a:pt x="1062" y="169"/>
                      <a:pt x="1034" y="150"/>
                    </a:cubicBezTo>
                    <a:cubicBezTo>
                      <a:pt x="915" y="217"/>
                      <a:pt x="915" y="217"/>
                      <a:pt x="915" y="217"/>
                    </a:cubicBezTo>
                    <a:cubicBezTo>
                      <a:pt x="905" y="212"/>
                      <a:pt x="905" y="212"/>
                      <a:pt x="905" y="212"/>
                    </a:cubicBezTo>
                    <a:cubicBezTo>
                      <a:pt x="875" y="199"/>
                      <a:pt x="845" y="189"/>
                      <a:pt x="813" y="182"/>
                    </a:cubicBezTo>
                    <a:cubicBezTo>
                      <a:pt x="802" y="179"/>
                      <a:pt x="802" y="179"/>
                      <a:pt x="802" y="179"/>
                    </a:cubicBezTo>
                    <a:cubicBezTo>
                      <a:pt x="752" y="47"/>
                      <a:pt x="752" y="47"/>
                      <a:pt x="752" y="47"/>
                    </a:cubicBezTo>
                    <a:cubicBezTo>
                      <a:pt x="718" y="44"/>
                      <a:pt x="682" y="44"/>
                      <a:pt x="681" y="44"/>
                    </a:cubicBezTo>
                    <a:cubicBezTo>
                      <a:pt x="681" y="44"/>
                      <a:pt x="645" y="44"/>
                      <a:pt x="610" y="47"/>
                    </a:cubicBezTo>
                    <a:cubicBezTo>
                      <a:pt x="561" y="179"/>
                      <a:pt x="561" y="179"/>
                      <a:pt x="561" y="179"/>
                    </a:cubicBezTo>
                    <a:cubicBezTo>
                      <a:pt x="549" y="182"/>
                      <a:pt x="549" y="182"/>
                      <a:pt x="549" y="182"/>
                    </a:cubicBezTo>
                    <a:cubicBezTo>
                      <a:pt x="518" y="189"/>
                      <a:pt x="488" y="199"/>
                      <a:pt x="458" y="212"/>
                    </a:cubicBezTo>
                    <a:cubicBezTo>
                      <a:pt x="448" y="217"/>
                      <a:pt x="448" y="217"/>
                      <a:pt x="448" y="217"/>
                    </a:cubicBezTo>
                    <a:cubicBezTo>
                      <a:pt x="329" y="149"/>
                      <a:pt x="329" y="149"/>
                      <a:pt x="329" y="149"/>
                    </a:cubicBezTo>
                    <a:cubicBezTo>
                      <a:pt x="300" y="169"/>
                      <a:pt x="273" y="192"/>
                      <a:pt x="272" y="192"/>
                    </a:cubicBezTo>
                    <a:cubicBezTo>
                      <a:pt x="272" y="193"/>
                      <a:pt x="244" y="216"/>
                      <a:pt x="220" y="241"/>
                    </a:cubicBezTo>
                    <a:cubicBezTo>
                      <a:pt x="262" y="359"/>
                      <a:pt x="262" y="359"/>
                      <a:pt x="262" y="359"/>
                    </a:cubicBezTo>
                    <a:cubicBezTo>
                      <a:pt x="254" y="369"/>
                      <a:pt x="254" y="369"/>
                      <a:pt x="254" y="369"/>
                    </a:cubicBezTo>
                    <a:cubicBezTo>
                      <a:pt x="229" y="399"/>
                      <a:pt x="209" y="433"/>
                      <a:pt x="192" y="468"/>
                    </a:cubicBezTo>
                    <a:cubicBezTo>
                      <a:pt x="187" y="478"/>
                      <a:pt x="187" y="478"/>
                      <a:pt x="187" y="478"/>
                    </a:cubicBezTo>
                    <a:cubicBezTo>
                      <a:pt x="70" y="500"/>
                      <a:pt x="70" y="500"/>
                      <a:pt x="70" y="500"/>
                    </a:cubicBezTo>
                    <a:cubicBezTo>
                      <a:pt x="61" y="533"/>
                      <a:pt x="55" y="569"/>
                      <a:pt x="55" y="569"/>
                    </a:cubicBezTo>
                    <a:cubicBezTo>
                      <a:pt x="55" y="570"/>
                      <a:pt x="48" y="605"/>
                      <a:pt x="45" y="640"/>
                    </a:cubicBezTo>
                    <a:cubicBezTo>
                      <a:pt x="143" y="698"/>
                      <a:pt x="143" y="698"/>
                      <a:pt x="143" y="698"/>
                    </a:cubicBezTo>
                    <a:cubicBezTo>
                      <a:pt x="144" y="709"/>
                      <a:pt x="144" y="709"/>
                      <a:pt x="144" y="709"/>
                    </a:cubicBezTo>
                    <a:cubicBezTo>
                      <a:pt x="146" y="752"/>
                      <a:pt x="154" y="794"/>
                      <a:pt x="167" y="834"/>
                    </a:cubicBezTo>
                    <a:cubicBezTo>
                      <a:pt x="170" y="846"/>
                      <a:pt x="170" y="846"/>
                      <a:pt x="170" y="846"/>
                    </a:cubicBezTo>
                    <a:cubicBezTo>
                      <a:pt x="97" y="935"/>
                      <a:pt x="97" y="935"/>
                      <a:pt x="97" y="935"/>
                    </a:cubicBezTo>
                    <a:cubicBezTo>
                      <a:pt x="112" y="966"/>
                      <a:pt x="130" y="997"/>
                      <a:pt x="130" y="998"/>
                    </a:cubicBezTo>
                    <a:cubicBezTo>
                      <a:pt x="130" y="998"/>
                      <a:pt x="148" y="1029"/>
                      <a:pt x="168" y="1058"/>
                    </a:cubicBezTo>
                    <a:cubicBezTo>
                      <a:pt x="290" y="1038"/>
                      <a:pt x="290" y="1038"/>
                      <a:pt x="290" y="1038"/>
                    </a:cubicBezTo>
                    <a:cubicBezTo>
                      <a:pt x="298" y="1045"/>
                      <a:pt x="298" y="1045"/>
                      <a:pt x="298" y="1045"/>
                    </a:cubicBezTo>
                    <a:cubicBezTo>
                      <a:pt x="324" y="1072"/>
                      <a:pt x="354" y="1095"/>
                      <a:pt x="386" y="1115"/>
                    </a:cubicBezTo>
                    <a:cubicBezTo>
                      <a:pt x="396" y="1121"/>
                      <a:pt x="396" y="1121"/>
                      <a:pt x="396" y="1121"/>
                    </a:cubicBezTo>
                    <a:cubicBezTo>
                      <a:pt x="397" y="1250"/>
                      <a:pt x="397" y="1250"/>
                      <a:pt x="397" y="1250"/>
                    </a:cubicBezTo>
                    <a:cubicBezTo>
                      <a:pt x="429" y="1265"/>
                      <a:pt x="463" y="1278"/>
                      <a:pt x="463" y="1278"/>
                    </a:cubicBezTo>
                    <a:cubicBezTo>
                      <a:pt x="463" y="1278"/>
                      <a:pt x="498" y="1290"/>
                      <a:pt x="531" y="1299"/>
                    </a:cubicBezTo>
                    <a:cubicBezTo>
                      <a:pt x="619" y="1197"/>
                      <a:pt x="619" y="1197"/>
                      <a:pt x="619" y="1197"/>
                    </a:cubicBezTo>
                    <a:cubicBezTo>
                      <a:pt x="630" y="1198"/>
                      <a:pt x="630" y="1198"/>
                      <a:pt x="630" y="1198"/>
                    </a:cubicBezTo>
                    <a:cubicBezTo>
                      <a:pt x="647" y="1199"/>
                      <a:pt x="665" y="1200"/>
                      <a:pt x="681" y="1200"/>
                    </a:cubicBezTo>
                    <a:cubicBezTo>
                      <a:pt x="698" y="1200"/>
                      <a:pt x="714" y="1199"/>
                      <a:pt x="731" y="1198"/>
                    </a:cubicBezTo>
                    <a:lnTo>
                      <a:pt x="742" y="1197"/>
                    </a:lnTo>
                    <a:close/>
                    <a:moveTo>
                      <a:pt x="681" y="1108"/>
                    </a:moveTo>
                    <a:cubicBezTo>
                      <a:pt x="447" y="1108"/>
                      <a:pt x="256" y="917"/>
                      <a:pt x="256" y="683"/>
                    </a:cubicBezTo>
                    <a:cubicBezTo>
                      <a:pt x="256" y="448"/>
                      <a:pt x="447" y="257"/>
                      <a:pt x="681" y="257"/>
                    </a:cubicBezTo>
                    <a:cubicBezTo>
                      <a:pt x="916" y="257"/>
                      <a:pt x="1107" y="448"/>
                      <a:pt x="1107" y="683"/>
                    </a:cubicBezTo>
                    <a:cubicBezTo>
                      <a:pt x="1107" y="917"/>
                      <a:pt x="916" y="1108"/>
                      <a:pt x="681" y="1108"/>
                    </a:cubicBezTo>
                    <a:close/>
                    <a:moveTo>
                      <a:pt x="681" y="301"/>
                    </a:moveTo>
                    <a:cubicBezTo>
                      <a:pt x="471" y="301"/>
                      <a:pt x="300" y="473"/>
                      <a:pt x="300" y="683"/>
                    </a:cubicBezTo>
                    <a:cubicBezTo>
                      <a:pt x="300" y="893"/>
                      <a:pt x="471" y="1064"/>
                      <a:pt x="681" y="1064"/>
                    </a:cubicBezTo>
                    <a:cubicBezTo>
                      <a:pt x="892" y="1064"/>
                      <a:pt x="1063" y="893"/>
                      <a:pt x="1063" y="683"/>
                    </a:cubicBezTo>
                    <a:cubicBezTo>
                      <a:pt x="1063" y="473"/>
                      <a:pt x="892" y="301"/>
                      <a:pt x="681" y="30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24" name="bcgIcons_Prioritization">
            <a:extLst>
              <a:ext uri="{FF2B5EF4-FFF2-40B4-BE49-F238E27FC236}">
                <a16:creationId xmlns:a16="http://schemas.microsoft.com/office/drawing/2014/main" id="{305D4BBD-1428-4698-996F-71E323260CF2}"/>
              </a:ext>
            </a:extLst>
          </p:cNvPr>
          <p:cNvGrpSpPr>
            <a:grpSpLocks noChangeAspect="1"/>
          </p:cNvGrpSpPr>
          <p:nvPr/>
        </p:nvGrpSpPr>
        <p:grpSpPr bwMode="auto">
          <a:xfrm>
            <a:off x="4908305" y="2046665"/>
            <a:ext cx="797170" cy="797908"/>
            <a:chOff x="1682" y="0"/>
            <a:chExt cx="4316" cy="4320"/>
          </a:xfrm>
        </p:grpSpPr>
        <p:sp>
          <p:nvSpPr>
            <p:cNvPr id="26" name="AutoShape 3">
              <a:extLst>
                <a:ext uri="{FF2B5EF4-FFF2-40B4-BE49-F238E27FC236}">
                  <a16:creationId xmlns:a16="http://schemas.microsoft.com/office/drawing/2014/main" id="{D1ADA201-5075-4189-8B4C-2DA792A16469}"/>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 name="Freeform 5">
              <a:extLst>
                <a:ext uri="{FF2B5EF4-FFF2-40B4-BE49-F238E27FC236}">
                  <a16:creationId xmlns:a16="http://schemas.microsoft.com/office/drawing/2014/main" id="{3D9EC654-B54B-4D53-818B-6C7FDEFA2E71}"/>
                </a:ext>
              </a:extLst>
            </p:cNvPr>
            <p:cNvSpPr>
              <a:spLocks noEditPoints="1"/>
            </p:cNvSpPr>
            <p:nvPr/>
          </p:nvSpPr>
          <p:spPr bwMode="auto">
            <a:xfrm>
              <a:off x="2074" y="1183"/>
              <a:ext cx="2587" cy="2400"/>
            </a:xfrm>
            <a:custGeom>
              <a:avLst/>
              <a:gdLst>
                <a:gd name="T0" fmla="*/ 348 w 1381"/>
                <a:gd name="T1" fmla="*/ 370 h 1280"/>
                <a:gd name="T2" fmla="*/ 22 w 1381"/>
                <a:gd name="T3" fmla="*/ 370 h 1280"/>
                <a:gd name="T4" fmla="*/ 0 w 1381"/>
                <a:gd name="T5" fmla="*/ 348 h 1280"/>
                <a:gd name="T6" fmla="*/ 0 w 1381"/>
                <a:gd name="T7" fmla="*/ 22 h 1280"/>
                <a:gd name="T8" fmla="*/ 22 w 1381"/>
                <a:gd name="T9" fmla="*/ 0 h 1280"/>
                <a:gd name="T10" fmla="*/ 348 w 1381"/>
                <a:gd name="T11" fmla="*/ 0 h 1280"/>
                <a:gd name="T12" fmla="*/ 370 w 1381"/>
                <a:gd name="T13" fmla="*/ 22 h 1280"/>
                <a:gd name="T14" fmla="*/ 370 w 1381"/>
                <a:gd name="T15" fmla="*/ 348 h 1280"/>
                <a:gd name="T16" fmla="*/ 348 w 1381"/>
                <a:gd name="T17" fmla="*/ 370 h 1280"/>
                <a:gd name="T18" fmla="*/ 44 w 1381"/>
                <a:gd name="T19" fmla="*/ 326 h 1280"/>
                <a:gd name="T20" fmla="*/ 326 w 1381"/>
                <a:gd name="T21" fmla="*/ 326 h 1280"/>
                <a:gd name="T22" fmla="*/ 326 w 1381"/>
                <a:gd name="T23" fmla="*/ 44 h 1280"/>
                <a:gd name="T24" fmla="*/ 44 w 1381"/>
                <a:gd name="T25" fmla="*/ 44 h 1280"/>
                <a:gd name="T26" fmla="*/ 44 w 1381"/>
                <a:gd name="T27" fmla="*/ 326 h 1280"/>
                <a:gd name="T28" fmla="*/ 348 w 1381"/>
                <a:gd name="T29" fmla="*/ 1280 h 1280"/>
                <a:gd name="T30" fmla="*/ 22 w 1381"/>
                <a:gd name="T31" fmla="*/ 1280 h 1280"/>
                <a:gd name="T32" fmla="*/ 0 w 1381"/>
                <a:gd name="T33" fmla="*/ 1258 h 1280"/>
                <a:gd name="T34" fmla="*/ 0 w 1381"/>
                <a:gd name="T35" fmla="*/ 932 h 1280"/>
                <a:gd name="T36" fmla="*/ 22 w 1381"/>
                <a:gd name="T37" fmla="*/ 910 h 1280"/>
                <a:gd name="T38" fmla="*/ 348 w 1381"/>
                <a:gd name="T39" fmla="*/ 910 h 1280"/>
                <a:gd name="T40" fmla="*/ 370 w 1381"/>
                <a:gd name="T41" fmla="*/ 932 h 1280"/>
                <a:gd name="T42" fmla="*/ 370 w 1381"/>
                <a:gd name="T43" fmla="*/ 1258 h 1280"/>
                <a:gd name="T44" fmla="*/ 348 w 1381"/>
                <a:gd name="T45" fmla="*/ 1280 h 1280"/>
                <a:gd name="T46" fmla="*/ 44 w 1381"/>
                <a:gd name="T47" fmla="*/ 1236 h 1280"/>
                <a:gd name="T48" fmla="*/ 326 w 1381"/>
                <a:gd name="T49" fmla="*/ 1236 h 1280"/>
                <a:gd name="T50" fmla="*/ 326 w 1381"/>
                <a:gd name="T51" fmla="*/ 954 h 1280"/>
                <a:gd name="T52" fmla="*/ 44 w 1381"/>
                <a:gd name="T53" fmla="*/ 954 h 1280"/>
                <a:gd name="T54" fmla="*/ 44 w 1381"/>
                <a:gd name="T55" fmla="*/ 1236 h 1280"/>
                <a:gd name="T56" fmla="*/ 1381 w 1381"/>
                <a:gd name="T57" fmla="*/ 185 h 1280"/>
                <a:gd name="T58" fmla="*/ 1359 w 1381"/>
                <a:gd name="T59" fmla="*/ 163 h 1280"/>
                <a:gd name="T60" fmla="*/ 557 w 1381"/>
                <a:gd name="T61" fmla="*/ 163 h 1280"/>
                <a:gd name="T62" fmla="*/ 535 w 1381"/>
                <a:gd name="T63" fmla="*/ 185 h 1280"/>
                <a:gd name="T64" fmla="*/ 557 w 1381"/>
                <a:gd name="T65" fmla="*/ 207 h 1280"/>
                <a:gd name="T66" fmla="*/ 1359 w 1381"/>
                <a:gd name="T67" fmla="*/ 207 h 1280"/>
                <a:gd name="T68" fmla="*/ 1381 w 1381"/>
                <a:gd name="T69" fmla="*/ 185 h 1280"/>
                <a:gd name="T70" fmla="*/ 1381 w 1381"/>
                <a:gd name="T71" fmla="*/ 1095 h 1280"/>
                <a:gd name="T72" fmla="*/ 1359 w 1381"/>
                <a:gd name="T73" fmla="*/ 1073 h 1280"/>
                <a:gd name="T74" fmla="*/ 557 w 1381"/>
                <a:gd name="T75" fmla="*/ 1073 h 1280"/>
                <a:gd name="T76" fmla="*/ 535 w 1381"/>
                <a:gd name="T77" fmla="*/ 1095 h 1280"/>
                <a:gd name="T78" fmla="*/ 557 w 1381"/>
                <a:gd name="T79" fmla="*/ 1117 h 1280"/>
                <a:gd name="T80" fmla="*/ 1359 w 1381"/>
                <a:gd name="T81" fmla="*/ 1117 h 1280"/>
                <a:gd name="T82" fmla="*/ 1381 w 1381"/>
                <a:gd name="T83" fmla="*/ 1095 h 1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81" h="1280">
                  <a:moveTo>
                    <a:pt x="348" y="370"/>
                  </a:moveTo>
                  <a:cubicBezTo>
                    <a:pt x="22" y="370"/>
                    <a:pt x="22" y="370"/>
                    <a:pt x="22" y="370"/>
                  </a:cubicBezTo>
                  <a:cubicBezTo>
                    <a:pt x="10" y="370"/>
                    <a:pt x="0" y="360"/>
                    <a:pt x="0" y="348"/>
                  </a:cubicBezTo>
                  <a:cubicBezTo>
                    <a:pt x="0" y="22"/>
                    <a:pt x="0" y="22"/>
                    <a:pt x="0" y="22"/>
                  </a:cubicBezTo>
                  <a:cubicBezTo>
                    <a:pt x="0" y="10"/>
                    <a:pt x="10" y="0"/>
                    <a:pt x="22" y="0"/>
                  </a:cubicBezTo>
                  <a:cubicBezTo>
                    <a:pt x="348" y="0"/>
                    <a:pt x="348" y="0"/>
                    <a:pt x="348" y="0"/>
                  </a:cubicBezTo>
                  <a:cubicBezTo>
                    <a:pt x="360" y="0"/>
                    <a:pt x="370" y="10"/>
                    <a:pt x="370" y="22"/>
                  </a:cubicBezTo>
                  <a:cubicBezTo>
                    <a:pt x="370" y="348"/>
                    <a:pt x="370" y="348"/>
                    <a:pt x="370" y="348"/>
                  </a:cubicBezTo>
                  <a:cubicBezTo>
                    <a:pt x="370" y="360"/>
                    <a:pt x="360" y="370"/>
                    <a:pt x="348" y="370"/>
                  </a:cubicBezTo>
                  <a:close/>
                  <a:moveTo>
                    <a:pt x="44" y="326"/>
                  </a:moveTo>
                  <a:cubicBezTo>
                    <a:pt x="326" y="326"/>
                    <a:pt x="326" y="326"/>
                    <a:pt x="326" y="326"/>
                  </a:cubicBezTo>
                  <a:cubicBezTo>
                    <a:pt x="326" y="44"/>
                    <a:pt x="326" y="44"/>
                    <a:pt x="326" y="44"/>
                  </a:cubicBezTo>
                  <a:cubicBezTo>
                    <a:pt x="44" y="44"/>
                    <a:pt x="44" y="44"/>
                    <a:pt x="44" y="44"/>
                  </a:cubicBezTo>
                  <a:lnTo>
                    <a:pt x="44" y="326"/>
                  </a:lnTo>
                  <a:close/>
                  <a:moveTo>
                    <a:pt x="348" y="1280"/>
                  </a:moveTo>
                  <a:cubicBezTo>
                    <a:pt x="22" y="1280"/>
                    <a:pt x="22" y="1280"/>
                    <a:pt x="22" y="1280"/>
                  </a:cubicBezTo>
                  <a:cubicBezTo>
                    <a:pt x="10" y="1280"/>
                    <a:pt x="0" y="1270"/>
                    <a:pt x="0" y="1258"/>
                  </a:cubicBezTo>
                  <a:cubicBezTo>
                    <a:pt x="0" y="932"/>
                    <a:pt x="0" y="932"/>
                    <a:pt x="0" y="932"/>
                  </a:cubicBezTo>
                  <a:cubicBezTo>
                    <a:pt x="0" y="920"/>
                    <a:pt x="10" y="910"/>
                    <a:pt x="22" y="910"/>
                  </a:cubicBezTo>
                  <a:cubicBezTo>
                    <a:pt x="348" y="910"/>
                    <a:pt x="348" y="910"/>
                    <a:pt x="348" y="910"/>
                  </a:cubicBezTo>
                  <a:cubicBezTo>
                    <a:pt x="360" y="910"/>
                    <a:pt x="370" y="920"/>
                    <a:pt x="370" y="932"/>
                  </a:cubicBezTo>
                  <a:cubicBezTo>
                    <a:pt x="370" y="1258"/>
                    <a:pt x="370" y="1258"/>
                    <a:pt x="370" y="1258"/>
                  </a:cubicBezTo>
                  <a:cubicBezTo>
                    <a:pt x="370" y="1270"/>
                    <a:pt x="360" y="1280"/>
                    <a:pt x="348" y="1280"/>
                  </a:cubicBezTo>
                  <a:close/>
                  <a:moveTo>
                    <a:pt x="44" y="1236"/>
                  </a:moveTo>
                  <a:cubicBezTo>
                    <a:pt x="326" y="1236"/>
                    <a:pt x="326" y="1236"/>
                    <a:pt x="326" y="1236"/>
                  </a:cubicBezTo>
                  <a:cubicBezTo>
                    <a:pt x="326" y="954"/>
                    <a:pt x="326" y="954"/>
                    <a:pt x="326" y="954"/>
                  </a:cubicBezTo>
                  <a:cubicBezTo>
                    <a:pt x="44" y="954"/>
                    <a:pt x="44" y="954"/>
                    <a:pt x="44" y="954"/>
                  </a:cubicBezTo>
                  <a:lnTo>
                    <a:pt x="44" y="1236"/>
                  </a:lnTo>
                  <a:close/>
                  <a:moveTo>
                    <a:pt x="1381" y="185"/>
                  </a:moveTo>
                  <a:cubicBezTo>
                    <a:pt x="1381" y="172"/>
                    <a:pt x="1371" y="163"/>
                    <a:pt x="1359" y="163"/>
                  </a:cubicBezTo>
                  <a:cubicBezTo>
                    <a:pt x="557" y="163"/>
                    <a:pt x="557" y="163"/>
                    <a:pt x="557" y="163"/>
                  </a:cubicBezTo>
                  <a:cubicBezTo>
                    <a:pt x="545" y="163"/>
                    <a:pt x="535" y="172"/>
                    <a:pt x="535" y="185"/>
                  </a:cubicBezTo>
                  <a:cubicBezTo>
                    <a:pt x="535" y="197"/>
                    <a:pt x="545" y="207"/>
                    <a:pt x="557" y="207"/>
                  </a:cubicBezTo>
                  <a:cubicBezTo>
                    <a:pt x="1359" y="207"/>
                    <a:pt x="1359" y="207"/>
                    <a:pt x="1359" y="207"/>
                  </a:cubicBezTo>
                  <a:cubicBezTo>
                    <a:pt x="1371" y="207"/>
                    <a:pt x="1381" y="197"/>
                    <a:pt x="1381" y="185"/>
                  </a:cubicBezTo>
                  <a:close/>
                  <a:moveTo>
                    <a:pt x="1381" y="1095"/>
                  </a:moveTo>
                  <a:cubicBezTo>
                    <a:pt x="1381" y="1083"/>
                    <a:pt x="1371" y="1073"/>
                    <a:pt x="1359" y="1073"/>
                  </a:cubicBezTo>
                  <a:cubicBezTo>
                    <a:pt x="557" y="1073"/>
                    <a:pt x="557" y="1073"/>
                    <a:pt x="557" y="1073"/>
                  </a:cubicBezTo>
                  <a:cubicBezTo>
                    <a:pt x="545" y="1073"/>
                    <a:pt x="535" y="1083"/>
                    <a:pt x="535" y="1095"/>
                  </a:cubicBezTo>
                  <a:cubicBezTo>
                    <a:pt x="535" y="1107"/>
                    <a:pt x="545" y="1117"/>
                    <a:pt x="557" y="1117"/>
                  </a:cubicBezTo>
                  <a:cubicBezTo>
                    <a:pt x="1359" y="1117"/>
                    <a:pt x="1359" y="1117"/>
                    <a:pt x="1359" y="1117"/>
                  </a:cubicBezTo>
                  <a:cubicBezTo>
                    <a:pt x="1371" y="1117"/>
                    <a:pt x="1381" y="1107"/>
                    <a:pt x="1381" y="1095"/>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 name="Freeform 6">
              <a:extLst>
                <a:ext uri="{FF2B5EF4-FFF2-40B4-BE49-F238E27FC236}">
                  <a16:creationId xmlns:a16="http://schemas.microsoft.com/office/drawing/2014/main" id="{76D7D40C-A6AA-40D5-80CA-BF27FB145126}"/>
                </a:ext>
              </a:extLst>
            </p:cNvPr>
            <p:cNvSpPr>
              <a:spLocks noEditPoints="1"/>
            </p:cNvSpPr>
            <p:nvPr/>
          </p:nvSpPr>
          <p:spPr bwMode="auto">
            <a:xfrm>
              <a:off x="2074" y="737"/>
              <a:ext cx="3536" cy="1993"/>
            </a:xfrm>
            <a:custGeom>
              <a:avLst/>
              <a:gdLst>
                <a:gd name="T0" fmla="*/ 370 w 1888"/>
                <a:gd name="T1" fmla="*/ 715 h 1063"/>
                <a:gd name="T2" fmla="*/ 370 w 1888"/>
                <a:gd name="T3" fmla="*/ 1041 h 1063"/>
                <a:gd name="T4" fmla="*/ 348 w 1888"/>
                <a:gd name="T5" fmla="*/ 1063 h 1063"/>
                <a:gd name="T6" fmla="*/ 22 w 1888"/>
                <a:gd name="T7" fmla="*/ 1063 h 1063"/>
                <a:gd name="T8" fmla="*/ 0 w 1888"/>
                <a:gd name="T9" fmla="*/ 1041 h 1063"/>
                <a:gd name="T10" fmla="*/ 0 w 1888"/>
                <a:gd name="T11" fmla="*/ 715 h 1063"/>
                <a:gd name="T12" fmla="*/ 22 w 1888"/>
                <a:gd name="T13" fmla="*/ 693 h 1063"/>
                <a:gd name="T14" fmla="*/ 348 w 1888"/>
                <a:gd name="T15" fmla="*/ 693 h 1063"/>
                <a:gd name="T16" fmla="*/ 370 w 1888"/>
                <a:gd name="T17" fmla="*/ 715 h 1063"/>
                <a:gd name="T18" fmla="*/ 1496 w 1888"/>
                <a:gd name="T19" fmla="*/ 116 h 1063"/>
                <a:gd name="T20" fmla="*/ 1202 w 1888"/>
                <a:gd name="T21" fmla="*/ 116 h 1063"/>
                <a:gd name="T22" fmla="*/ 1279 w 1888"/>
                <a:gd name="T23" fmla="*/ 40 h 1063"/>
                <a:gd name="T24" fmla="*/ 1279 w 1888"/>
                <a:gd name="T25" fmla="*/ 8 h 1063"/>
                <a:gd name="T26" fmla="*/ 1248 w 1888"/>
                <a:gd name="T27" fmla="*/ 8 h 1063"/>
                <a:gd name="T28" fmla="*/ 1134 w 1888"/>
                <a:gd name="T29" fmla="*/ 123 h 1063"/>
                <a:gd name="T30" fmla="*/ 1127 w 1888"/>
                <a:gd name="T31" fmla="*/ 138 h 1063"/>
                <a:gd name="T32" fmla="*/ 1134 w 1888"/>
                <a:gd name="T33" fmla="*/ 154 h 1063"/>
                <a:gd name="T34" fmla="*/ 1248 w 1888"/>
                <a:gd name="T35" fmla="*/ 268 h 1063"/>
                <a:gd name="T36" fmla="*/ 1263 w 1888"/>
                <a:gd name="T37" fmla="*/ 274 h 1063"/>
                <a:gd name="T38" fmla="*/ 1279 w 1888"/>
                <a:gd name="T39" fmla="*/ 268 h 1063"/>
                <a:gd name="T40" fmla="*/ 1279 w 1888"/>
                <a:gd name="T41" fmla="*/ 237 h 1063"/>
                <a:gd name="T42" fmla="*/ 1202 w 1888"/>
                <a:gd name="T43" fmla="*/ 160 h 1063"/>
                <a:gd name="T44" fmla="*/ 1496 w 1888"/>
                <a:gd name="T45" fmla="*/ 160 h 1063"/>
                <a:gd name="T46" fmla="*/ 1844 w 1888"/>
                <a:gd name="T47" fmla="*/ 508 h 1063"/>
                <a:gd name="T48" fmla="*/ 1496 w 1888"/>
                <a:gd name="T49" fmla="*/ 856 h 1063"/>
                <a:gd name="T50" fmla="*/ 557 w 1888"/>
                <a:gd name="T51" fmla="*/ 856 h 1063"/>
                <a:gd name="T52" fmla="*/ 535 w 1888"/>
                <a:gd name="T53" fmla="*/ 878 h 1063"/>
                <a:gd name="T54" fmla="*/ 557 w 1888"/>
                <a:gd name="T55" fmla="*/ 900 h 1063"/>
                <a:gd name="T56" fmla="*/ 1496 w 1888"/>
                <a:gd name="T57" fmla="*/ 900 h 1063"/>
                <a:gd name="T58" fmla="*/ 1888 w 1888"/>
                <a:gd name="T59" fmla="*/ 508 h 1063"/>
                <a:gd name="T60" fmla="*/ 1496 w 1888"/>
                <a:gd name="T61" fmla="*/ 116 h 10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888" h="1063">
                  <a:moveTo>
                    <a:pt x="370" y="715"/>
                  </a:moveTo>
                  <a:cubicBezTo>
                    <a:pt x="370" y="1041"/>
                    <a:pt x="370" y="1041"/>
                    <a:pt x="370" y="1041"/>
                  </a:cubicBezTo>
                  <a:cubicBezTo>
                    <a:pt x="370" y="1053"/>
                    <a:pt x="360" y="1063"/>
                    <a:pt x="348" y="1063"/>
                  </a:cubicBezTo>
                  <a:cubicBezTo>
                    <a:pt x="22" y="1063"/>
                    <a:pt x="22" y="1063"/>
                    <a:pt x="22" y="1063"/>
                  </a:cubicBezTo>
                  <a:cubicBezTo>
                    <a:pt x="10" y="1063"/>
                    <a:pt x="0" y="1053"/>
                    <a:pt x="0" y="1041"/>
                  </a:cubicBezTo>
                  <a:cubicBezTo>
                    <a:pt x="0" y="715"/>
                    <a:pt x="0" y="715"/>
                    <a:pt x="0" y="715"/>
                  </a:cubicBezTo>
                  <a:cubicBezTo>
                    <a:pt x="0" y="703"/>
                    <a:pt x="10" y="693"/>
                    <a:pt x="22" y="693"/>
                  </a:cubicBezTo>
                  <a:cubicBezTo>
                    <a:pt x="348" y="693"/>
                    <a:pt x="348" y="693"/>
                    <a:pt x="348" y="693"/>
                  </a:cubicBezTo>
                  <a:cubicBezTo>
                    <a:pt x="360" y="693"/>
                    <a:pt x="370" y="703"/>
                    <a:pt x="370" y="715"/>
                  </a:cubicBezTo>
                  <a:close/>
                  <a:moveTo>
                    <a:pt x="1496" y="116"/>
                  </a:moveTo>
                  <a:cubicBezTo>
                    <a:pt x="1202" y="116"/>
                    <a:pt x="1202" y="116"/>
                    <a:pt x="1202" y="116"/>
                  </a:cubicBezTo>
                  <a:cubicBezTo>
                    <a:pt x="1279" y="40"/>
                    <a:pt x="1279" y="40"/>
                    <a:pt x="1279" y="40"/>
                  </a:cubicBezTo>
                  <a:cubicBezTo>
                    <a:pt x="1287" y="31"/>
                    <a:pt x="1287" y="17"/>
                    <a:pt x="1279" y="8"/>
                  </a:cubicBezTo>
                  <a:cubicBezTo>
                    <a:pt x="1270" y="0"/>
                    <a:pt x="1256" y="0"/>
                    <a:pt x="1248" y="8"/>
                  </a:cubicBezTo>
                  <a:cubicBezTo>
                    <a:pt x="1134" y="123"/>
                    <a:pt x="1134" y="123"/>
                    <a:pt x="1134" y="123"/>
                  </a:cubicBezTo>
                  <a:cubicBezTo>
                    <a:pt x="1129" y="127"/>
                    <a:pt x="1127" y="132"/>
                    <a:pt x="1127" y="138"/>
                  </a:cubicBezTo>
                  <a:cubicBezTo>
                    <a:pt x="1127" y="144"/>
                    <a:pt x="1129" y="150"/>
                    <a:pt x="1134" y="154"/>
                  </a:cubicBezTo>
                  <a:cubicBezTo>
                    <a:pt x="1248" y="268"/>
                    <a:pt x="1248" y="268"/>
                    <a:pt x="1248" y="268"/>
                  </a:cubicBezTo>
                  <a:cubicBezTo>
                    <a:pt x="1252" y="272"/>
                    <a:pt x="1258" y="274"/>
                    <a:pt x="1263" y="274"/>
                  </a:cubicBezTo>
                  <a:cubicBezTo>
                    <a:pt x="1269" y="274"/>
                    <a:pt x="1275" y="272"/>
                    <a:pt x="1279" y="268"/>
                  </a:cubicBezTo>
                  <a:cubicBezTo>
                    <a:pt x="1287" y="259"/>
                    <a:pt x="1287" y="245"/>
                    <a:pt x="1279" y="237"/>
                  </a:cubicBezTo>
                  <a:cubicBezTo>
                    <a:pt x="1202" y="160"/>
                    <a:pt x="1202" y="160"/>
                    <a:pt x="1202" y="160"/>
                  </a:cubicBezTo>
                  <a:cubicBezTo>
                    <a:pt x="1496" y="160"/>
                    <a:pt x="1496" y="160"/>
                    <a:pt x="1496" y="160"/>
                  </a:cubicBezTo>
                  <a:cubicBezTo>
                    <a:pt x="1688" y="160"/>
                    <a:pt x="1844" y="316"/>
                    <a:pt x="1844" y="508"/>
                  </a:cubicBezTo>
                  <a:cubicBezTo>
                    <a:pt x="1844" y="700"/>
                    <a:pt x="1688" y="856"/>
                    <a:pt x="1496" y="856"/>
                  </a:cubicBezTo>
                  <a:cubicBezTo>
                    <a:pt x="557" y="856"/>
                    <a:pt x="557" y="856"/>
                    <a:pt x="557" y="856"/>
                  </a:cubicBezTo>
                  <a:cubicBezTo>
                    <a:pt x="545" y="856"/>
                    <a:pt x="535" y="866"/>
                    <a:pt x="535" y="878"/>
                  </a:cubicBezTo>
                  <a:cubicBezTo>
                    <a:pt x="535" y="890"/>
                    <a:pt x="545" y="900"/>
                    <a:pt x="557" y="900"/>
                  </a:cubicBezTo>
                  <a:cubicBezTo>
                    <a:pt x="1496" y="900"/>
                    <a:pt x="1496" y="900"/>
                    <a:pt x="1496" y="900"/>
                  </a:cubicBezTo>
                  <a:cubicBezTo>
                    <a:pt x="1712" y="900"/>
                    <a:pt x="1888" y="724"/>
                    <a:pt x="1888" y="508"/>
                  </a:cubicBezTo>
                  <a:cubicBezTo>
                    <a:pt x="1888" y="292"/>
                    <a:pt x="1712" y="116"/>
                    <a:pt x="1496" y="116"/>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8" name="bcgIcons_QuestionMark">
            <a:extLst>
              <a:ext uri="{FF2B5EF4-FFF2-40B4-BE49-F238E27FC236}">
                <a16:creationId xmlns:a16="http://schemas.microsoft.com/office/drawing/2014/main" id="{FDA22CC3-A66C-469C-96BD-113ED39C5EC4}"/>
              </a:ext>
            </a:extLst>
          </p:cNvPr>
          <p:cNvGrpSpPr>
            <a:grpSpLocks noChangeAspect="1"/>
          </p:cNvGrpSpPr>
          <p:nvPr/>
        </p:nvGrpSpPr>
        <p:grpSpPr bwMode="auto">
          <a:xfrm>
            <a:off x="4908305" y="714795"/>
            <a:ext cx="797170" cy="797908"/>
            <a:chOff x="1682" y="0"/>
            <a:chExt cx="4316" cy="4320"/>
          </a:xfrm>
        </p:grpSpPr>
        <p:sp>
          <p:nvSpPr>
            <p:cNvPr id="39" name="AutoShape 13">
              <a:extLst>
                <a:ext uri="{FF2B5EF4-FFF2-40B4-BE49-F238E27FC236}">
                  <a16:creationId xmlns:a16="http://schemas.microsoft.com/office/drawing/2014/main" id="{567BBC7B-796E-4677-BB5C-F07F8C463555}"/>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Freeform 15">
              <a:extLst>
                <a:ext uri="{FF2B5EF4-FFF2-40B4-BE49-F238E27FC236}">
                  <a16:creationId xmlns:a16="http://schemas.microsoft.com/office/drawing/2014/main" id="{40C19CC1-8F56-4D0E-87CC-B52DFD6D4D21}"/>
                </a:ext>
              </a:extLst>
            </p:cNvPr>
            <p:cNvSpPr>
              <a:spLocks noEditPoints="1"/>
            </p:cNvSpPr>
            <p:nvPr/>
          </p:nvSpPr>
          <p:spPr bwMode="auto">
            <a:xfrm>
              <a:off x="3023" y="480"/>
              <a:ext cx="1613" cy="3356"/>
            </a:xfrm>
            <a:custGeom>
              <a:avLst/>
              <a:gdLst>
                <a:gd name="T0" fmla="*/ 700 w 861"/>
                <a:gd name="T1" fmla="*/ 141 h 1790"/>
                <a:gd name="T2" fmla="*/ 788 w 861"/>
                <a:gd name="T3" fmla="*/ 563 h 1790"/>
                <a:gd name="T4" fmla="*/ 551 w 861"/>
                <a:gd name="T5" fmla="*/ 860 h 1790"/>
                <a:gd name="T6" fmla="*/ 486 w 861"/>
                <a:gd name="T7" fmla="*/ 1162 h 1790"/>
                <a:gd name="T8" fmla="*/ 277 w 861"/>
                <a:gd name="T9" fmla="*/ 1215 h 1790"/>
                <a:gd name="T10" fmla="*/ 229 w 861"/>
                <a:gd name="T11" fmla="*/ 1031 h 1790"/>
                <a:gd name="T12" fmla="*/ 390 w 861"/>
                <a:gd name="T13" fmla="*/ 669 h 1790"/>
                <a:gd name="T14" fmla="*/ 539 w 861"/>
                <a:gd name="T15" fmla="*/ 423 h 1790"/>
                <a:gd name="T16" fmla="*/ 366 w 861"/>
                <a:gd name="T17" fmla="*/ 288 h 1790"/>
                <a:gd name="T18" fmla="*/ 172 w 861"/>
                <a:gd name="T19" fmla="*/ 391 h 1790"/>
                <a:gd name="T20" fmla="*/ 82 w 861"/>
                <a:gd name="T21" fmla="*/ 138 h 1790"/>
                <a:gd name="T22" fmla="*/ 400 w 861"/>
                <a:gd name="T23" fmla="*/ 1351 h 1790"/>
                <a:gd name="T24" fmla="*/ 597 w 861"/>
                <a:gd name="T25" fmla="*/ 1548 h 1790"/>
                <a:gd name="T26" fmla="*/ 400 w 861"/>
                <a:gd name="T27" fmla="*/ 1746 h 1790"/>
                <a:gd name="T28" fmla="*/ 203 w 861"/>
                <a:gd name="T29" fmla="*/ 1548 h 1790"/>
                <a:gd name="T30" fmla="*/ 400 w 861"/>
                <a:gd name="T31" fmla="*/ 1351 h 1790"/>
                <a:gd name="T32" fmla="*/ 54 w 861"/>
                <a:gd name="T33" fmla="*/ 104 h 1790"/>
                <a:gd name="T34" fmla="*/ 0 w 861"/>
                <a:gd name="T35" fmla="*/ 149 h 1790"/>
                <a:gd name="T36" fmla="*/ 133 w 861"/>
                <a:gd name="T37" fmla="*/ 411 h 1790"/>
                <a:gd name="T38" fmla="*/ 203 w 861"/>
                <a:gd name="T39" fmla="*/ 423 h 1790"/>
                <a:gd name="T40" fmla="*/ 366 w 861"/>
                <a:gd name="T41" fmla="*/ 332 h 1790"/>
                <a:gd name="T42" fmla="*/ 495 w 861"/>
                <a:gd name="T43" fmla="*/ 423 h 1790"/>
                <a:gd name="T44" fmla="*/ 357 w 861"/>
                <a:gd name="T45" fmla="*/ 640 h 1790"/>
                <a:gd name="T46" fmla="*/ 185 w 861"/>
                <a:gd name="T47" fmla="*/ 1031 h 1790"/>
                <a:gd name="T48" fmla="*/ 236 w 861"/>
                <a:gd name="T49" fmla="*/ 1230 h 1790"/>
                <a:gd name="T50" fmla="*/ 277 w 861"/>
                <a:gd name="T51" fmla="*/ 1259 h 1790"/>
                <a:gd name="T52" fmla="*/ 550 w 861"/>
                <a:gd name="T53" fmla="*/ 1259 h 1790"/>
                <a:gd name="T54" fmla="*/ 529 w 861"/>
                <a:gd name="T55" fmla="*/ 1154 h 1790"/>
                <a:gd name="T56" fmla="*/ 585 w 861"/>
                <a:gd name="T57" fmla="*/ 889 h 1790"/>
                <a:gd name="T58" fmla="*/ 829 w 861"/>
                <a:gd name="T59" fmla="*/ 579 h 1790"/>
                <a:gd name="T60" fmla="*/ 729 w 861"/>
                <a:gd name="T61" fmla="*/ 108 h 1790"/>
                <a:gd name="T62" fmla="*/ 400 w 861"/>
                <a:gd name="T63" fmla="*/ 1307 h 1790"/>
                <a:gd name="T64" fmla="*/ 159 w 861"/>
                <a:gd name="T65" fmla="*/ 1548 h 1790"/>
                <a:gd name="T66" fmla="*/ 400 w 861"/>
                <a:gd name="T67" fmla="*/ 1790 h 1790"/>
                <a:gd name="T68" fmla="*/ 641 w 861"/>
                <a:gd name="T69" fmla="*/ 1548 h 1790"/>
                <a:gd name="T70" fmla="*/ 400 w 861"/>
                <a:gd name="T71" fmla="*/ 1307 h 1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61" h="1790">
                  <a:moveTo>
                    <a:pt x="417" y="44"/>
                  </a:moveTo>
                  <a:cubicBezTo>
                    <a:pt x="529" y="44"/>
                    <a:pt x="625" y="76"/>
                    <a:pt x="700" y="141"/>
                  </a:cubicBezTo>
                  <a:cubicBezTo>
                    <a:pt x="778" y="207"/>
                    <a:pt x="817" y="296"/>
                    <a:pt x="817" y="406"/>
                  </a:cubicBezTo>
                  <a:cubicBezTo>
                    <a:pt x="817" y="460"/>
                    <a:pt x="807" y="513"/>
                    <a:pt x="788" y="563"/>
                  </a:cubicBezTo>
                  <a:cubicBezTo>
                    <a:pt x="769" y="613"/>
                    <a:pt x="739" y="660"/>
                    <a:pt x="699" y="702"/>
                  </a:cubicBezTo>
                  <a:cubicBezTo>
                    <a:pt x="551" y="860"/>
                    <a:pt x="551" y="860"/>
                    <a:pt x="551" y="860"/>
                  </a:cubicBezTo>
                  <a:cubicBezTo>
                    <a:pt x="498" y="926"/>
                    <a:pt x="472" y="997"/>
                    <a:pt x="472" y="1078"/>
                  </a:cubicBezTo>
                  <a:cubicBezTo>
                    <a:pt x="472" y="1083"/>
                    <a:pt x="474" y="1102"/>
                    <a:pt x="486" y="1162"/>
                  </a:cubicBezTo>
                  <a:cubicBezTo>
                    <a:pt x="496" y="1215"/>
                    <a:pt x="496" y="1215"/>
                    <a:pt x="496" y="1215"/>
                  </a:cubicBezTo>
                  <a:cubicBezTo>
                    <a:pt x="277" y="1215"/>
                    <a:pt x="277" y="1215"/>
                    <a:pt x="277" y="1215"/>
                  </a:cubicBezTo>
                  <a:cubicBezTo>
                    <a:pt x="267" y="1186"/>
                    <a:pt x="267" y="1186"/>
                    <a:pt x="267" y="1186"/>
                  </a:cubicBezTo>
                  <a:cubicBezTo>
                    <a:pt x="242" y="1116"/>
                    <a:pt x="229" y="1065"/>
                    <a:pt x="229" y="1031"/>
                  </a:cubicBezTo>
                  <a:cubicBezTo>
                    <a:pt x="229" y="978"/>
                    <a:pt x="239" y="922"/>
                    <a:pt x="259" y="867"/>
                  </a:cubicBezTo>
                  <a:cubicBezTo>
                    <a:pt x="279" y="810"/>
                    <a:pt x="322" y="745"/>
                    <a:pt x="390" y="669"/>
                  </a:cubicBezTo>
                  <a:cubicBezTo>
                    <a:pt x="451" y="601"/>
                    <a:pt x="492" y="548"/>
                    <a:pt x="513" y="513"/>
                  </a:cubicBezTo>
                  <a:cubicBezTo>
                    <a:pt x="530" y="482"/>
                    <a:pt x="539" y="451"/>
                    <a:pt x="539" y="423"/>
                  </a:cubicBezTo>
                  <a:cubicBezTo>
                    <a:pt x="539" y="377"/>
                    <a:pt x="527" y="344"/>
                    <a:pt x="501" y="323"/>
                  </a:cubicBezTo>
                  <a:cubicBezTo>
                    <a:pt x="473" y="300"/>
                    <a:pt x="428" y="288"/>
                    <a:pt x="366" y="288"/>
                  </a:cubicBezTo>
                  <a:cubicBezTo>
                    <a:pt x="308" y="288"/>
                    <a:pt x="259" y="308"/>
                    <a:pt x="215" y="350"/>
                  </a:cubicBezTo>
                  <a:cubicBezTo>
                    <a:pt x="172" y="391"/>
                    <a:pt x="172" y="391"/>
                    <a:pt x="172" y="391"/>
                  </a:cubicBezTo>
                  <a:cubicBezTo>
                    <a:pt x="55" y="161"/>
                    <a:pt x="55" y="161"/>
                    <a:pt x="55" y="161"/>
                  </a:cubicBezTo>
                  <a:cubicBezTo>
                    <a:pt x="82" y="138"/>
                    <a:pt x="82" y="138"/>
                    <a:pt x="82" y="138"/>
                  </a:cubicBezTo>
                  <a:cubicBezTo>
                    <a:pt x="159" y="76"/>
                    <a:pt x="271" y="44"/>
                    <a:pt x="417" y="44"/>
                  </a:cubicBezTo>
                  <a:moveTo>
                    <a:pt x="400" y="1351"/>
                  </a:moveTo>
                  <a:cubicBezTo>
                    <a:pt x="454" y="1351"/>
                    <a:pt x="501" y="1371"/>
                    <a:pt x="539" y="1409"/>
                  </a:cubicBezTo>
                  <a:cubicBezTo>
                    <a:pt x="577" y="1447"/>
                    <a:pt x="597" y="1494"/>
                    <a:pt x="597" y="1548"/>
                  </a:cubicBezTo>
                  <a:cubicBezTo>
                    <a:pt x="597" y="1602"/>
                    <a:pt x="577" y="1649"/>
                    <a:pt x="539" y="1688"/>
                  </a:cubicBezTo>
                  <a:cubicBezTo>
                    <a:pt x="501" y="1727"/>
                    <a:pt x="454" y="1746"/>
                    <a:pt x="400" y="1746"/>
                  </a:cubicBezTo>
                  <a:cubicBezTo>
                    <a:pt x="346" y="1746"/>
                    <a:pt x="299" y="1727"/>
                    <a:pt x="260" y="1688"/>
                  </a:cubicBezTo>
                  <a:cubicBezTo>
                    <a:pt x="222" y="1649"/>
                    <a:pt x="203" y="1602"/>
                    <a:pt x="203" y="1548"/>
                  </a:cubicBezTo>
                  <a:cubicBezTo>
                    <a:pt x="203" y="1494"/>
                    <a:pt x="222" y="1447"/>
                    <a:pt x="261" y="1409"/>
                  </a:cubicBezTo>
                  <a:cubicBezTo>
                    <a:pt x="299" y="1371"/>
                    <a:pt x="346" y="1351"/>
                    <a:pt x="400" y="1351"/>
                  </a:cubicBezTo>
                  <a:moveTo>
                    <a:pt x="417" y="0"/>
                  </a:moveTo>
                  <a:cubicBezTo>
                    <a:pt x="261" y="0"/>
                    <a:pt x="139" y="35"/>
                    <a:pt x="54" y="104"/>
                  </a:cubicBezTo>
                  <a:cubicBezTo>
                    <a:pt x="27" y="127"/>
                    <a:pt x="27" y="127"/>
                    <a:pt x="27" y="127"/>
                  </a:cubicBezTo>
                  <a:cubicBezTo>
                    <a:pt x="0" y="149"/>
                    <a:pt x="0" y="149"/>
                    <a:pt x="0" y="149"/>
                  </a:cubicBezTo>
                  <a:cubicBezTo>
                    <a:pt x="16" y="181"/>
                    <a:pt x="16" y="181"/>
                    <a:pt x="16" y="181"/>
                  </a:cubicBezTo>
                  <a:cubicBezTo>
                    <a:pt x="133" y="411"/>
                    <a:pt x="133" y="411"/>
                    <a:pt x="133" y="411"/>
                  </a:cubicBezTo>
                  <a:cubicBezTo>
                    <a:pt x="160" y="464"/>
                    <a:pt x="160" y="464"/>
                    <a:pt x="160" y="464"/>
                  </a:cubicBezTo>
                  <a:cubicBezTo>
                    <a:pt x="203" y="423"/>
                    <a:pt x="203" y="423"/>
                    <a:pt x="203" y="423"/>
                  </a:cubicBezTo>
                  <a:cubicBezTo>
                    <a:pt x="246" y="382"/>
                    <a:pt x="246" y="382"/>
                    <a:pt x="246" y="382"/>
                  </a:cubicBezTo>
                  <a:cubicBezTo>
                    <a:pt x="281" y="348"/>
                    <a:pt x="319" y="332"/>
                    <a:pt x="366" y="332"/>
                  </a:cubicBezTo>
                  <a:cubicBezTo>
                    <a:pt x="430" y="332"/>
                    <a:pt x="459" y="345"/>
                    <a:pt x="473" y="357"/>
                  </a:cubicBezTo>
                  <a:cubicBezTo>
                    <a:pt x="483" y="364"/>
                    <a:pt x="495" y="380"/>
                    <a:pt x="495" y="423"/>
                  </a:cubicBezTo>
                  <a:cubicBezTo>
                    <a:pt x="495" y="444"/>
                    <a:pt x="488" y="466"/>
                    <a:pt x="474" y="491"/>
                  </a:cubicBezTo>
                  <a:cubicBezTo>
                    <a:pt x="462" y="513"/>
                    <a:pt x="431" y="557"/>
                    <a:pt x="357" y="640"/>
                  </a:cubicBezTo>
                  <a:cubicBezTo>
                    <a:pt x="285" y="720"/>
                    <a:pt x="239" y="790"/>
                    <a:pt x="217" y="852"/>
                  </a:cubicBezTo>
                  <a:cubicBezTo>
                    <a:pt x="196" y="912"/>
                    <a:pt x="185" y="973"/>
                    <a:pt x="185" y="1031"/>
                  </a:cubicBezTo>
                  <a:cubicBezTo>
                    <a:pt x="185" y="1071"/>
                    <a:pt x="198" y="1125"/>
                    <a:pt x="225" y="1201"/>
                  </a:cubicBezTo>
                  <a:cubicBezTo>
                    <a:pt x="236" y="1230"/>
                    <a:pt x="236" y="1230"/>
                    <a:pt x="236" y="1230"/>
                  </a:cubicBezTo>
                  <a:cubicBezTo>
                    <a:pt x="246" y="1259"/>
                    <a:pt x="246" y="1259"/>
                    <a:pt x="246" y="1259"/>
                  </a:cubicBezTo>
                  <a:cubicBezTo>
                    <a:pt x="277" y="1259"/>
                    <a:pt x="277" y="1259"/>
                    <a:pt x="277" y="1259"/>
                  </a:cubicBezTo>
                  <a:cubicBezTo>
                    <a:pt x="496" y="1259"/>
                    <a:pt x="496" y="1259"/>
                    <a:pt x="496" y="1259"/>
                  </a:cubicBezTo>
                  <a:cubicBezTo>
                    <a:pt x="550" y="1259"/>
                    <a:pt x="550" y="1259"/>
                    <a:pt x="550" y="1259"/>
                  </a:cubicBezTo>
                  <a:cubicBezTo>
                    <a:pt x="539" y="1206"/>
                    <a:pt x="539" y="1206"/>
                    <a:pt x="539" y="1206"/>
                  </a:cubicBezTo>
                  <a:cubicBezTo>
                    <a:pt x="529" y="1154"/>
                    <a:pt x="529" y="1154"/>
                    <a:pt x="529" y="1154"/>
                  </a:cubicBezTo>
                  <a:cubicBezTo>
                    <a:pt x="517" y="1093"/>
                    <a:pt x="516" y="1079"/>
                    <a:pt x="516" y="1078"/>
                  </a:cubicBezTo>
                  <a:cubicBezTo>
                    <a:pt x="516" y="1008"/>
                    <a:pt x="539" y="946"/>
                    <a:pt x="585" y="889"/>
                  </a:cubicBezTo>
                  <a:cubicBezTo>
                    <a:pt x="731" y="733"/>
                    <a:pt x="731" y="733"/>
                    <a:pt x="731" y="733"/>
                  </a:cubicBezTo>
                  <a:cubicBezTo>
                    <a:pt x="775" y="686"/>
                    <a:pt x="808" y="635"/>
                    <a:pt x="829" y="579"/>
                  </a:cubicBezTo>
                  <a:cubicBezTo>
                    <a:pt x="850" y="524"/>
                    <a:pt x="861" y="466"/>
                    <a:pt x="861" y="406"/>
                  </a:cubicBezTo>
                  <a:cubicBezTo>
                    <a:pt x="861" y="283"/>
                    <a:pt x="817" y="183"/>
                    <a:pt x="729" y="108"/>
                  </a:cubicBezTo>
                  <a:cubicBezTo>
                    <a:pt x="645" y="36"/>
                    <a:pt x="540" y="0"/>
                    <a:pt x="417" y="0"/>
                  </a:cubicBezTo>
                  <a:close/>
                  <a:moveTo>
                    <a:pt x="400" y="1307"/>
                  </a:moveTo>
                  <a:cubicBezTo>
                    <a:pt x="334" y="1307"/>
                    <a:pt x="276" y="1331"/>
                    <a:pt x="229" y="1378"/>
                  </a:cubicBezTo>
                  <a:cubicBezTo>
                    <a:pt x="183" y="1425"/>
                    <a:pt x="159" y="1482"/>
                    <a:pt x="159" y="1548"/>
                  </a:cubicBezTo>
                  <a:cubicBezTo>
                    <a:pt x="159" y="1614"/>
                    <a:pt x="182" y="1672"/>
                    <a:pt x="229" y="1719"/>
                  </a:cubicBezTo>
                  <a:cubicBezTo>
                    <a:pt x="276" y="1766"/>
                    <a:pt x="333" y="1790"/>
                    <a:pt x="400" y="1790"/>
                  </a:cubicBezTo>
                  <a:cubicBezTo>
                    <a:pt x="466" y="1790"/>
                    <a:pt x="524" y="1766"/>
                    <a:pt x="571" y="1719"/>
                  </a:cubicBezTo>
                  <a:cubicBezTo>
                    <a:pt x="617" y="1672"/>
                    <a:pt x="641" y="1614"/>
                    <a:pt x="641" y="1548"/>
                  </a:cubicBezTo>
                  <a:cubicBezTo>
                    <a:pt x="641" y="1482"/>
                    <a:pt x="617" y="1425"/>
                    <a:pt x="570" y="1378"/>
                  </a:cubicBezTo>
                  <a:cubicBezTo>
                    <a:pt x="523" y="1331"/>
                    <a:pt x="466" y="1307"/>
                    <a:pt x="400" y="130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 name="Freeform 16">
              <a:extLst>
                <a:ext uri="{FF2B5EF4-FFF2-40B4-BE49-F238E27FC236}">
                  <a16:creationId xmlns:a16="http://schemas.microsoft.com/office/drawing/2014/main" id="{B5789FD1-AD7A-44D3-AEF8-54E3C763E690}"/>
                </a:ext>
              </a:extLst>
            </p:cNvPr>
            <p:cNvSpPr>
              <a:spLocks noEditPoints="1"/>
            </p:cNvSpPr>
            <p:nvPr/>
          </p:nvSpPr>
          <p:spPr bwMode="auto">
            <a:xfrm>
              <a:off x="3229" y="645"/>
              <a:ext cx="1242" cy="3026"/>
            </a:xfrm>
            <a:custGeom>
              <a:avLst/>
              <a:gdLst>
                <a:gd name="T0" fmla="*/ 333 w 663"/>
                <a:gd name="T1" fmla="*/ 1083 h 1614"/>
                <a:gd name="T2" fmla="*/ 198 w 663"/>
                <a:gd name="T3" fmla="*/ 1083 h 1614"/>
                <a:gd name="T4" fmla="*/ 163 w 663"/>
                <a:gd name="T5" fmla="*/ 943 h 1614"/>
                <a:gd name="T6" fmla="*/ 190 w 663"/>
                <a:gd name="T7" fmla="*/ 793 h 1614"/>
                <a:gd name="T8" fmla="*/ 313 w 663"/>
                <a:gd name="T9" fmla="*/ 610 h 1614"/>
                <a:gd name="T10" fmla="*/ 441 w 663"/>
                <a:gd name="T11" fmla="*/ 447 h 1614"/>
                <a:gd name="T12" fmla="*/ 473 w 663"/>
                <a:gd name="T13" fmla="*/ 335 h 1614"/>
                <a:gd name="T14" fmla="*/ 256 w 663"/>
                <a:gd name="T15" fmla="*/ 156 h 1614"/>
                <a:gd name="T16" fmla="*/ 75 w 663"/>
                <a:gd name="T17" fmla="*/ 230 h 1614"/>
                <a:gd name="T18" fmla="*/ 0 w 663"/>
                <a:gd name="T19" fmla="*/ 84 h 1614"/>
                <a:gd name="T20" fmla="*/ 307 w 663"/>
                <a:gd name="T21" fmla="*/ 0 h 1614"/>
                <a:gd name="T22" fmla="*/ 562 w 663"/>
                <a:gd name="T23" fmla="*/ 86 h 1614"/>
                <a:gd name="T24" fmla="*/ 663 w 663"/>
                <a:gd name="T25" fmla="*/ 318 h 1614"/>
                <a:gd name="T26" fmla="*/ 637 w 663"/>
                <a:gd name="T27" fmla="*/ 459 h 1614"/>
                <a:gd name="T28" fmla="*/ 557 w 663"/>
                <a:gd name="T29" fmla="*/ 584 h 1614"/>
                <a:gd name="T30" fmla="*/ 408 w 663"/>
                <a:gd name="T31" fmla="*/ 743 h 1614"/>
                <a:gd name="T32" fmla="*/ 318 w 663"/>
                <a:gd name="T33" fmla="*/ 990 h 1614"/>
                <a:gd name="T34" fmla="*/ 333 w 663"/>
                <a:gd name="T35" fmla="*/ 1083 h 1614"/>
                <a:gd name="T36" fmla="*/ 290 w 663"/>
                <a:gd name="T37" fmla="*/ 1307 h 1614"/>
                <a:gd name="T38" fmla="*/ 398 w 663"/>
                <a:gd name="T39" fmla="*/ 1352 h 1614"/>
                <a:gd name="T40" fmla="*/ 443 w 663"/>
                <a:gd name="T41" fmla="*/ 1460 h 1614"/>
                <a:gd name="T42" fmla="*/ 398 w 663"/>
                <a:gd name="T43" fmla="*/ 1569 h 1614"/>
                <a:gd name="T44" fmla="*/ 290 w 663"/>
                <a:gd name="T45" fmla="*/ 1614 h 1614"/>
                <a:gd name="T46" fmla="*/ 182 w 663"/>
                <a:gd name="T47" fmla="*/ 1569 h 1614"/>
                <a:gd name="T48" fmla="*/ 137 w 663"/>
                <a:gd name="T49" fmla="*/ 1460 h 1614"/>
                <a:gd name="T50" fmla="*/ 182 w 663"/>
                <a:gd name="T51" fmla="*/ 1352 h 1614"/>
                <a:gd name="T52" fmla="*/ 290 w 663"/>
                <a:gd name="T53" fmla="*/ 1307 h 1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3" h="1614">
                  <a:moveTo>
                    <a:pt x="333" y="1083"/>
                  </a:moveTo>
                  <a:cubicBezTo>
                    <a:pt x="198" y="1083"/>
                    <a:pt x="198" y="1083"/>
                    <a:pt x="198" y="1083"/>
                  </a:cubicBezTo>
                  <a:cubicBezTo>
                    <a:pt x="175" y="1018"/>
                    <a:pt x="163" y="972"/>
                    <a:pt x="163" y="943"/>
                  </a:cubicBezTo>
                  <a:cubicBezTo>
                    <a:pt x="163" y="894"/>
                    <a:pt x="172" y="844"/>
                    <a:pt x="190" y="793"/>
                  </a:cubicBezTo>
                  <a:cubicBezTo>
                    <a:pt x="208" y="742"/>
                    <a:pt x="249" y="681"/>
                    <a:pt x="313" y="610"/>
                  </a:cubicBezTo>
                  <a:cubicBezTo>
                    <a:pt x="376" y="539"/>
                    <a:pt x="419" y="485"/>
                    <a:pt x="441" y="447"/>
                  </a:cubicBezTo>
                  <a:cubicBezTo>
                    <a:pt x="463" y="408"/>
                    <a:pt x="473" y="371"/>
                    <a:pt x="473" y="335"/>
                  </a:cubicBezTo>
                  <a:cubicBezTo>
                    <a:pt x="473" y="216"/>
                    <a:pt x="401" y="156"/>
                    <a:pt x="256" y="156"/>
                  </a:cubicBezTo>
                  <a:cubicBezTo>
                    <a:pt x="187" y="156"/>
                    <a:pt x="126" y="181"/>
                    <a:pt x="75" y="230"/>
                  </a:cubicBezTo>
                  <a:cubicBezTo>
                    <a:pt x="0" y="84"/>
                    <a:pt x="0" y="84"/>
                    <a:pt x="0" y="84"/>
                  </a:cubicBezTo>
                  <a:cubicBezTo>
                    <a:pt x="69" y="28"/>
                    <a:pt x="171" y="0"/>
                    <a:pt x="307" y="0"/>
                  </a:cubicBezTo>
                  <a:cubicBezTo>
                    <a:pt x="409" y="0"/>
                    <a:pt x="494" y="29"/>
                    <a:pt x="562" y="86"/>
                  </a:cubicBezTo>
                  <a:cubicBezTo>
                    <a:pt x="629" y="144"/>
                    <a:pt x="663" y="221"/>
                    <a:pt x="663" y="318"/>
                  </a:cubicBezTo>
                  <a:cubicBezTo>
                    <a:pt x="663" y="367"/>
                    <a:pt x="655" y="414"/>
                    <a:pt x="637" y="459"/>
                  </a:cubicBezTo>
                  <a:cubicBezTo>
                    <a:pt x="620" y="505"/>
                    <a:pt x="593" y="546"/>
                    <a:pt x="557" y="584"/>
                  </a:cubicBezTo>
                  <a:cubicBezTo>
                    <a:pt x="408" y="743"/>
                    <a:pt x="408" y="743"/>
                    <a:pt x="408" y="743"/>
                  </a:cubicBezTo>
                  <a:cubicBezTo>
                    <a:pt x="348" y="817"/>
                    <a:pt x="318" y="899"/>
                    <a:pt x="318" y="990"/>
                  </a:cubicBezTo>
                  <a:cubicBezTo>
                    <a:pt x="318" y="1005"/>
                    <a:pt x="323" y="1035"/>
                    <a:pt x="333" y="1083"/>
                  </a:cubicBezTo>
                  <a:close/>
                  <a:moveTo>
                    <a:pt x="290" y="1307"/>
                  </a:moveTo>
                  <a:cubicBezTo>
                    <a:pt x="332" y="1307"/>
                    <a:pt x="368" y="1322"/>
                    <a:pt x="398" y="1352"/>
                  </a:cubicBezTo>
                  <a:cubicBezTo>
                    <a:pt x="428" y="1382"/>
                    <a:pt x="443" y="1418"/>
                    <a:pt x="443" y="1460"/>
                  </a:cubicBezTo>
                  <a:cubicBezTo>
                    <a:pt x="443" y="1502"/>
                    <a:pt x="428" y="1539"/>
                    <a:pt x="398" y="1569"/>
                  </a:cubicBezTo>
                  <a:cubicBezTo>
                    <a:pt x="368" y="1599"/>
                    <a:pt x="332" y="1614"/>
                    <a:pt x="290" y="1614"/>
                  </a:cubicBezTo>
                  <a:cubicBezTo>
                    <a:pt x="248" y="1614"/>
                    <a:pt x="212" y="1599"/>
                    <a:pt x="182" y="1569"/>
                  </a:cubicBezTo>
                  <a:cubicBezTo>
                    <a:pt x="152" y="1539"/>
                    <a:pt x="137" y="1502"/>
                    <a:pt x="137" y="1460"/>
                  </a:cubicBezTo>
                  <a:cubicBezTo>
                    <a:pt x="137" y="1418"/>
                    <a:pt x="152" y="1382"/>
                    <a:pt x="182" y="1352"/>
                  </a:cubicBezTo>
                  <a:cubicBezTo>
                    <a:pt x="212" y="1322"/>
                    <a:pt x="248" y="1307"/>
                    <a:pt x="290" y="130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0" name="NavigationIcon"/>
          <p:cNvSpPr>
            <a:spLocks noChangeAspect="1"/>
          </p:cNvSpPr>
          <p:nvPr/>
        </p:nvSpPr>
        <p:spPr bwMode="auto">
          <a:xfrm>
            <a:off x="11747499" y="132877"/>
            <a:ext cx="251849" cy="365760"/>
          </a:xfrm>
          <a:custGeom>
            <a:avLst/>
            <a:gdLst>
              <a:gd name="connsiteX0" fmla="*/ 445952 w 898525"/>
              <a:gd name="connsiteY0" fmla="*/ 1044575 h 1304925"/>
              <a:gd name="connsiteX1" fmla="*/ 733560 w 898525"/>
              <a:gd name="connsiteY1" fmla="*/ 1044575 h 1304925"/>
              <a:gd name="connsiteX2" fmla="*/ 749300 w 898525"/>
              <a:gd name="connsiteY2" fmla="*/ 1060450 h 1304925"/>
              <a:gd name="connsiteX3" fmla="*/ 733560 w 898525"/>
              <a:gd name="connsiteY3" fmla="*/ 1076325 h 1304925"/>
              <a:gd name="connsiteX4" fmla="*/ 445952 w 898525"/>
              <a:gd name="connsiteY4" fmla="*/ 1076325 h 1304925"/>
              <a:gd name="connsiteX5" fmla="*/ 430212 w 898525"/>
              <a:gd name="connsiteY5" fmla="*/ 1060450 h 1304925"/>
              <a:gd name="connsiteX6" fmla="*/ 445952 w 898525"/>
              <a:gd name="connsiteY6" fmla="*/ 1044575 h 1304925"/>
              <a:gd name="connsiteX7" fmla="*/ 445952 w 898525"/>
              <a:gd name="connsiteY7" fmla="*/ 958850 h 1304925"/>
              <a:gd name="connsiteX8" fmla="*/ 733560 w 898525"/>
              <a:gd name="connsiteY8" fmla="*/ 958850 h 1304925"/>
              <a:gd name="connsiteX9" fmla="*/ 749300 w 898525"/>
              <a:gd name="connsiteY9" fmla="*/ 974725 h 1304925"/>
              <a:gd name="connsiteX10" fmla="*/ 733560 w 898525"/>
              <a:gd name="connsiteY10" fmla="*/ 990600 h 1304925"/>
              <a:gd name="connsiteX11" fmla="*/ 445952 w 898525"/>
              <a:gd name="connsiteY11" fmla="*/ 990600 h 1304925"/>
              <a:gd name="connsiteX12" fmla="*/ 430212 w 898525"/>
              <a:gd name="connsiteY12" fmla="*/ 974725 h 1304925"/>
              <a:gd name="connsiteX13" fmla="*/ 445952 w 898525"/>
              <a:gd name="connsiteY13" fmla="*/ 958850 h 1304925"/>
              <a:gd name="connsiteX14" fmla="*/ 164892 w 898525"/>
              <a:gd name="connsiteY14" fmla="*/ 941387 h 1304925"/>
              <a:gd name="connsiteX15" fmla="*/ 256759 w 898525"/>
              <a:gd name="connsiteY15" fmla="*/ 941387 h 1304925"/>
              <a:gd name="connsiteX16" fmla="*/ 225425 w 898525"/>
              <a:gd name="connsiteY16" fmla="*/ 972722 h 1304925"/>
              <a:gd name="connsiteX17" fmla="*/ 180559 w 898525"/>
              <a:gd name="connsiteY17" fmla="*/ 972722 h 1304925"/>
              <a:gd name="connsiteX18" fmla="*/ 180559 w 898525"/>
              <a:gd name="connsiteY18" fmla="*/ 1062453 h 1304925"/>
              <a:gd name="connsiteX19" fmla="*/ 270290 w 898525"/>
              <a:gd name="connsiteY19" fmla="*/ 1062453 h 1304925"/>
              <a:gd name="connsiteX20" fmla="*/ 270290 w 898525"/>
              <a:gd name="connsiteY20" fmla="*/ 1058892 h 1304925"/>
              <a:gd name="connsiteX21" fmla="*/ 301625 w 898525"/>
              <a:gd name="connsiteY21" fmla="*/ 1027557 h 1304925"/>
              <a:gd name="connsiteX22" fmla="*/ 301625 w 898525"/>
              <a:gd name="connsiteY22" fmla="*/ 1078120 h 1304925"/>
              <a:gd name="connsiteX23" fmla="*/ 285957 w 898525"/>
              <a:gd name="connsiteY23" fmla="*/ 1093787 h 1304925"/>
              <a:gd name="connsiteX24" fmla="*/ 164892 w 898525"/>
              <a:gd name="connsiteY24" fmla="*/ 1093787 h 1304925"/>
              <a:gd name="connsiteX25" fmla="*/ 149225 w 898525"/>
              <a:gd name="connsiteY25" fmla="*/ 1078120 h 1304925"/>
              <a:gd name="connsiteX26" fmla="*/ 149225 w 898525"/>
              <a:gd name="connsiteY26" fmla="*/ 957054 h 1304925"/>
              <a:gd name="connsiteX27" fmla="*/ 164892 w 898525"/>
              <a:gd name="connsiteY27" fmla="*/ 941387 h 1304925"/>
              <a:gd name="connsiteX28" fmla="*/ 311196 w 898525"/>
              <a:gd name="connsiteY28" fmla="*/ 930342 h 1304925"/>
              <a:gd name="connsiteX29" fmla="*/ 333306 w 898525"/>
              <a:gd name="connsiteY29" fmla="*/ 930342 h 1304925"/>
              <a:gd name="connsiteX30" fmla="*/ 333306 w 898525"/>
              <a:gd name="connsiteY30" fmla="*/ 952443 h 1304925"/>
              <a:gd name="connsiteX31" fmla="*/ 302637 w 898525"/>
              <a:gd name="connsiteY31" fmla="*/ 983100 h 1304925"/>
              <a:gd name="connsiteX32" fmla="*/ 271255 w 898525"/>
              <a:gd name="connsiteY32" fmla="*/ 1014470 h 1304925"/>
              <a:gd name="connsiteX33" fmla="*/ 247006 w 898525"/>
              <a:gd name="connsiteY33" fmla="*/ 1038710 h 1304925"/>
              <a:gd name="connsiteX34" fmla="*/ 236307 w 898525"/>
              <a:gd name="connsiteY34" fmla="*/ 1042988 h 1304925"/>
              <a:gd name="connsiteX35" fmla="*/ 224896 w 898525"/>
              <a:gd name="connsiteY35" fmla="*/ 1038710 h 1304925"/>
              <a:gd name="connsiteX36" fmla="*/ 197793 w 898525"/>
              <a:gd name="connsiteY36" fmla="*/ 1010905 h 1304925"/>
              <a:gd name="connsiteX37" fmla="*/ 197793 w 898525"/>
              <a:gd name="connsiteY37" fmla="*/ 988804 h 1304925"/>
              <a:gd name="connsiteX38" fmla="*/ 219903 w 898525"/>
              <a:gd name="connsiteY38" fmla="*/ 988804 h 1304925"/>
              <a:gd name="connsiteX39" fmla="*/ 236307 w 898525"/>
              <a:gd name="connsiteY39" fmla="*/ 1005202 h 1304925"/>
              <a:gd name="connsiteX40" fmla="*/ 269829 w 898525"/>
              <a:gd name="connsiteY40" fmla="*/ 971693 h 1304925"/>
              <a:gd name="connsiteX41" fmla="*/ 297645 w 898525"/>
              <a:gd name="connsiteY41" fmla="*/ 943888 h 1304925"/>
              <a:gd name="connsiteX42" fmla="*/ 311196 w 898525"/>
              <a:gd name="connsiteY42" fmla="*/ 930342 h 1304925"/>
              <a:gd name="connsiteX43" fmla="*/ 445952 w 898525"/>
              <a:gd name="connsiteY43" fmla="*/ 766762 h 1304925"/>
              <a:gd name="connsiteX44" fmla="*/ 733560 w 898525"/>
              <a:gd name="connsiteY44" fmla="*/ 766762 h 1304925"/>
              <a:gd name="connsiteX45" fmla="*/ 749300 w 898525"/>
              <a:gd name="connsiteY45" fmla="*/ 782637 h 1304925"/>
              <a:gd name="connsiteX46" fmla="*/ 733560 w 898525"/>
              <a:gd name="connsiteY46" fmla="*/ 798512 h 1304925"/>
              <a:gd name="connsiteX47" fmla="*/ 445952 w 898525"/>
              <a:gd name="connsiteY47" fmla="*/ 798512 h 1304925"/>
              <a:gd name="connsiteX48" fmla="*/ 430212 w 898525"/>
              <a:gd name="connsiteY48" fmla="*/ 782637 h 1304925"/>
              <a:gd name="connsiteX49" fmla="*/ 445952 w 898525"/>
              <a:gd name="connsiteY49" fmla="*/ 766762 h 1304925"/>
              <a:gd name="connsiteX50" fmla="*/ 445952 w 898525"/>
              <a:gd name="connsiteY50" fmla="*/ 681037 h 1304925"/>
              <a:gd name="connsiteX51" fmla="*/ 733560 w 898525"/>
              <a:gd name="connsiteY51" fmla="*/ 681037 h 1304925"/>
              <a:gd name="connsiteX52" fmla="*/ 749300 w 898525"/>
              <a:gd name="connsiteY52" fmla="*/ 696912 h 1304925"/>
              <a:gd name="connsiteX53" fmla="*/ 733560 w 898525"/>
              <a:gd name="connsiteY53" fmla="*/ 712787 h 1304925"/>
              <a:gd name="connsiteX54" fmla="*/ 445952 w 898525"/>
              <a:gd name="connsiteY54" fmla="*/ 712787 h 1304925"/>
              <a:gd name="connsiteX55" fmla="*/ 430212 w 898525"/>
              <a:gd name="connsiteY55" fmla="*/ 696912 h 1304925"/>
              <a:gd name="connsiteX56" fmla="*/ 445952 w 898525"/>
              <a:gd name="connsiteY56" fmla="*/ 681037 h 1304925"/>
              <a:gd name="connsiteX57" fmla="*/ 164892 w 898525"/>
              <a:gd name="connsiteY57" fmla="*/ 663575 h 1304925"/>
              <a:gd name="connsiteX58" fmla="*/ 256759 w 898525"/>
              <a:gd name="connsiteY58" fmla="*/ 663575 h 1304925"/>
              <a:gd name="connsiteX59" fmla="*/ 225425 w 898525"/>
              <a:gd name="connsiteY59" fmla="*/ 694910 h 1304925"/>
              <a:gd name="connsiteX60" fmla="*/ 180559 w 898525"/>
              <a:gd name="connsiteY60" fmla="*/ 694910 h 1304925"/>
              <a:gd name="connsiteX61" fmla="*/ 180559 w 898525"/>
              <a:gd name="connsiteY61" fmla="*/ 784641 h 1304925"/>
              <a:gd name="connsiteX62" fmla="*/ 270290 w 898525"/>
              <a:gd name="connsiteY62" fmla="*/ 784641 h 1304925"/>
              <a:gd name="connsiteX63" fmla="*/ 270290 w 898525"/>
              <a:gd name="connsiteY63" fmla="*/ 781080 h 1304925"/>
              <a:gd name="connsiteX64" fmla="*/ 301625 w 898525"/>
              <a:gd name="connsiteY64" fmla="*/ 749745 h 1304925"/>
              <a:gd name="connsiteX65" fmla="*/ 301625 w 898525"/>
              <a:gd name="connsiteY65" fmla="*/ 800308 h 1304925"/>
              <a:gd name="connsiteX66" fmla="*/ 285957 w 898525"/>
              <a:gd name="connsiteY66" fmla="*/ 815975 h 1304925"/>
              <a:gd name="connsiteX67" fmla="*/ 164892 w 898525"/>
              <a:gd name="connsiteY67" fmla="*/ 815975 h 1304925"/>
              <a:gd name="connsiteX68" fmla="*/ 149225 w 898525"/>
              <a:gd name="connsiteY68" fmla="*/ 800308 h 1304925"/>
              <a:gd name="connsiteX69" fmla="*/ 149225 w 898525"/>
              <a:gd name="connsiteY69" fmla="*/ 679242 h 1304925"/>
              <a:gd name="connsiteX70" fmla="*/ 164892 w 898525"/>
              <a:gd name="connsiteY70" fmla="*/ 663575 h 1304925"/>
              <a:gd name="connsiteX71" fmla="*/ 311196 w 898525"/>
              <a:gd name="connsiteY71" fmla="*/ 653404 h 1304925"/>
              <a:gd name="connsiteX72" fmla="*/ 333306 w 898525"/>
              <a:gd name="connsiteY72" fmla="*/ 653404 h 1304925"/>
              <a:gd name="connsiteX73" fmla="*/ 333306 w 898525"/>
              <a:gd name="connsiteY73" fmla="*/ 676218 h 1304925"/>
              <a:gd name="connsiteX74" fmla="*/ 302637 w 898525"/>
              <a:gd name="connsiteY74" fmla="*/ 706875 h 1304925"/>
              <a:gd name="connsiteX75" fmla="*/ 271255 w 898525"/>
              <a:gd name="connsiteY75" fmla="*/ 738245 h 1304925"/>
              <a:gd name="connsiteX76" fmla="*/ 247006 w 898525"/>
              <a:gd name="connsiteY76" fmla="*/ 761772 h 1304925"/>
              <a:gd name="connsiteX77" fmla="*/ 236307 w 898525"/>
              <a:gd name="connsiteY77" fmla="*/ 766763 h 1304925"/>
              <a:gd name="connsiteX78" fmla="*/ 224896 w 898525"/>
              <a:gd name="connsiteY78" fmla="*/ 761772 h 1304925"/>
              <a:gd name="connsiteX79" fmla="*/ 197793 w 898525"/>
              <a:gd name="connsiteY79" fmla="*/ 734680 h 1304925"/>
              <a:gd name="connsiteX80" fmla="*/ 197793 w 898525"/>
              <a:gd name="connsiteY80" fmla="*/ 712579 h 1304925"/>
              <a:gd name="connsiteX81" fmla="*/ 219903 w 898525"/>
              <a:gd name="connsiteY81" fmla="*/ 712579 h 1304925"/>
              <a:gd name="connsiteX82" fmla="*/ 236307 w 898525"/>
              <a:gd name="connsiteY82" fmla="*/ 728977 h 1304925"/>
              <a:gd name="connsiteX83" fmla="*/ 269829 w 898525"/>
              <a:gd name="connsiteY83" fmla="*/ 695468 h 1304925"/>
              <a:gd name="connsiteX84" fmla="*/ 297645 w 898525"/>
              <a:gd name="connsiteY84" fmla="*/ 667663 h 1304925"/>
              <a:gd name="connsiteX85" fmla="*/ 311196 w 898525"/>
              <a:gd name="connsiteY85" fmla="*/ 653404 h 1304925"/>
              <a:gd name="connsiteX86" fmla="*/ 445952 w 898525"/>
              <a:gd name="connsiteY86" fmla="*/ 485775 h 1304925"/>
              <a:gd name="connsiteX87" fmla="*/ 733560 w 898525"/>
              <a:gd name="connsiteY87" fmla="*/ 485775 h 1304925"/>
              <a:gd name="connsiteX88" fmla="*/ 749300 w 898525"/>
              <a:gd name="connsiteY88" fmla="*/ 501650 h 1304925"/>
              <a:gd name="connsiteX89" fmla="*/ 733560 w 898525"/>
              <a:gd name="connsiteY89" fmla="*/ 517525 h 1304925"/>
              <a:gd name="connsiteX90" fmla="*/ 445952 w 898525"/>
              <a:gd name="connsiteY90" fmla="*/ 517525 h 1304925"/>
              <a:gd name="connsiteX91" fmla="*/ 430212 w 898525"/>
              <a:gd name="connsiteY91" fmla="*/ 501650 h 1304925"/>
              <a:gd name="connsiteX92" fmla="*/ 445952 w 898525"/>
              <a:gd name="connsiteY92" fmla="*/ 485775 h 1304925"/>
              <a:gd name="connsiteX93" fmla="*/ 445952 w 898525"/>
              <a:gd name="connsiteY93" fmla="*/ 400050 h 1304925"/>
              <a:gd name="connsiteX94" fmla="*/ 733560 w 898525"/>
              <a:gd name="connsiteY94" fmla="*/ 400050 h 1304925"/>
              <a:gd name="connsiteX95" fmla="*/ 749300 w 898525"/>
              <a:gd name="connsiteY95" fmla="*/ 415925 h 1304925"/>
              <a:gd name="connsiteX96" fmla="*/ 733560 w 898525"/>
              <a:gd name="connsiteY96" fmla="*/ 431800 h 1304925"/>
              <a:gd name="connsiteX97" fmla="*/ 445952 w 898525"/>
              <a:gd name="connsiteY97" fmla="*/ 431800 h 1304925"/>
              <a:gd name="connsiteX98" fmla="*/ 430212 w 898525"/>
              <a:gd name="connsiteY98" fmla="*/ 415925 h 1304925"/>
              <a:gd name="connsiteX99" fmla="*/ 445952 w 898525"/>
              <a:gd name="connsiteY99" fmla="*/ 400050 h 1304925"/>
              <a:gd name="connsiteX100" fmla="*/ 164892 w 898525"/>
              <a:gd name="connsiteY100" fmla="*/ 382587 h 1304925"/>
              <a:gd name="connsiteX101" fmla="*/ 256759 w 898525"/>
              <a:gd name="connsiteY101" fmla="*/ 382587 h 1304925"/>
              <a:gd name="connsiteX102" fmla="*/ 225425 w 898525"/>
              <a:gd name="connsiteY102" fmla="*/ 413776 h 1304925"/>
              <a:gd name="connsiteX103" fmla="*/ 180559 w 898525"/>
              <a:gd name="connsiteY103" fmla="*/ 413776 h 1304925"/>
              <a:gd name="connsiteX104" fmla="*/ 180559 w 898525"/>
              <a:gd name="connsiteY104" fmla="*/ 503798 h 1304925"/>
              <a:gd name="connsiteX105" fmla="*/ 270290 w 898525"/>
              <a:gd name="connsiteY105" fmla="*/ 503798 h 1304925"/>
              <a:gd name="connsiteX106" fmla="*/ 270290 w 898525"/>
              <a:gd name="connsiteY106" fmla="*/ 499545 h 1304925"/>
              <a:gd name="connsiteX107" fmla="*/ 301625 w 898525"/>
              <a:gd name="connsiteY107" fmla="*/ 468356 h 1304925"/>
              <a:gd name="connsiteX108" fmla="*/ 301625 w 898525"/>
              <a:gd name="connsiteY108" fmla="*/ 519393 h 1304925"/>
              <a:gd name="connsiteX109" fmla="*/ 285957 w 898525"/>
              <a:gd name="connsiteY109" fmla="*/ 534987 h 1304925"/>
              <a:gd name="connsiteX110" fmla="*/ 164892 w 898525"/>
              <a:gd name="connsiteY110" fmla="*/ 534987 h 1304925"/>
              <a:gd name="connsiteX111" fmla="*/ 149225 w 898525"/>
              <a:gd name="connsiteY111" fmla="*/ 519393 h 1304925"/>
              <a:gd name="connsiteX112" fmla="*/ 149225 w 898525"/>
              <a:gd name="connsiteY112" fmla="*/ 398182 h 1304925"/>
              <a:gd name="connsiteX113" fmla="*/ 164892 w 898525"/>
              <a:gd name="connsiteY113" fmla="*/ 382587 h 1304925"/>
              <a:gd name="connsiteX114" fmla="*/ 311196 w 898525"/>
              <a:gd name="connsiteY114" fmla="*/ 371542 h 1304925"/>
              <a:gd name="connsiteX115" fmla="*/ 333306 w 898525"/>
              <a:gd name="connsiteY115" fmla="*/ 371542 h 1304925"/>
              <a:gd name="connsiteX116" fmla="*/ 333306 w 898525"/>
              <a:gd name="connsiteY116" fmla="*/ 393643 h 1304925"/>
              <a:gd name="connsiteX117" fmla="*/ 302637 w 898525"/>
              <a:gd name="connsiteY117" fmla="*/ 424300 h 1304925"/>
              <a:gd name="connsiteX118" fmla="*/ 271255 w 898525"/>
              <a:gd name="connsiteY118" fmla="*/ 455670 h 1304925"/>
              <a:gd name="connsiteX119" fmla="*/ 247006 w 898525"/>
              <a:gd name="connsiteY119" fmla="*/ 479910 h 1304925"/>
              <a:gd name="connsiteX120" fmla="*/ 236307 w 898525"/>
              <a:gd name="connsiteY120" fmla="*/ 484188 h 1304925"/>
              <a:gd name="connsiteX121" fmla="*/ 224896 w 898525"/>
              <a:gd name="connsiteY121" fmla="*/ 479910 h 1304925"/>
              <a:gd name="connsiteX122" fmla="*/ 197793 w 898525"/>
              <a:gd name="connsiteY122" fmla="*/ 452818 h 1304925"/>
              <a:gd name="connsiteX123" fmla="*/ 197793 w 898525"/>
              <a:gd name="connsiteY123" fmla="*/ 430717 h 1304925"/>
              <a:gd name="connsiteX124" fmla="*/ 219903 w 898525"/>
              <a:gd name="connsiteY124" fmla="*/ 430717 h 1304925"/>
              <a:gd name="connsiteX125" fmla="*/ 236307 w 898525"/>
              <a:gd name="connsiteY125" fmla="*/ 446402 h 1304925"/>
              <a:gd name="connsiteX126" fmla="*/ 269829 w 898525"/>
              <a:gd name="connsiteY126" fmla="*/ 412893 h 1304925"/>
              <a:gd name="connsiteX127" fmla="*/ 297645 w 898525"/>
              <a:gd name="connsiteY127" fmla="*/ 385801 h 1304925"/>
              <a:gd name="connsiteX128" fmla="*/ 311196 w 898525"/>
              <a:gd name="connsiteY128" fmla="*/ 371542 h 1304925"/>
              <a:gd name="connsiteX129" fmla="*/ 15714 w 898525"/>
              <a:gd name="connsiteY129" fmla="*/ 114300 h 1304925"/>
              <a:gd name="connsiteX130" fmla="*/ 272843 w 898525"/>
              <a:gd name="connsiteY130" fmla="*/ 114300 h 1304925"/>
              <a:gd name="connsiteX131" fmla="*/ 272843 w 898525"/>
              <a:gd name="connsiteY131" fmla="*/ 145670 h 1304925"/>
              <a:gd name="connsiteX132" fmla="*/ 31427 w 898525"/>
              <a:gd name="connsiteY132" fmla="*/ 145670 h 1304925"/>
              <a:gd name="connsiteX133" fmla="*/ 31427 w 898525"/>
              <a:gd name="connsiteY133" fmla="*/ 1273555 h 1304925"/>
              <a:gd name="connsiteX134" fmla="*/ 867098 w 898525"/>
              <a:gd name="connsiteY134" fmla="*/ 1273555 h 1304925"/>
              <a:gd name="connsiteX135" fmla="*/ 867098 w 898525"/>
              <a:gd name="connsiteY135" fmla="*/ 145670 h 1304925"/>
              <a:gd name="connsiteX136" fmla="*/ 625682 w 898525"/>
              <a:gd name="connsiteY136" fmla="*/ 145670 h 1304925"/>
              <a:gd name="connsiteX137" fmla="*/ 625682 w 898525"/>
              <a:gd name="connsiteY137" fmla="*/ 114300 h 1304925"/>
              <a:gd name="connsiteX138" fmla="*/ 882812 w 898525"/>
              <a:gd name="connsiteY138" fmla="*/ 114300 h 1304925"/>
              <a:gd name="connsiteX139" fmla="*/ 898525 w 898525"/>
              <a:gd name="connsiteY139" fmla="*/ 129985 h 1304925"/>
              <a:gd name="connsiteX140" fmla="*/ 898525 w 898525"/>
              <a:gd name="connsiteY140" fmla="*/ 1289240 h 1304925"/>
              <a:gd name="connsiteX141" fmla="*/ 882812 w 898525"/>
              <a:gd name="connsiteY141" fmla="*/ 1304925 h 1304925"/>
              <a:gd name="connsiteX142" fmla="*/ 15714 w 898525"/>
              <a:gd name="connsiteY142" fmla="*/ 1304925 h 1304925"/>
              <a:gd name="connsiteX143" fmla="*/ 0 w 898525"/>
              <a:gd name="connsiteY143" fmla="*/ 1289240 h 1304925"/>
              <a:gd name="connsiteX144" fmla="*/ 0 w 898525"/>
              <a:gd name="connsiteY144" fmla="*/ 129985 h 1304925"/>
              <a:gd name="connsiteX145" fmla="*/ 15714 w 898525"/>
              <a:gd name="connsiteY145" fmla="*/ 114300 h 1304925"/>
              <a:gd name="connsiteX146" fmla="*/ 450491 w 898525"/>
              <a:gd name="connsiteY146" fmla="*/ 31750 h 1304925"/>
              <a:gd name="connsiteX147" fmla="*/ 428983 w 898525"/>
              <a:gd name="connsiteY147" fmla="*/ 36027 h 1304925"/>
              <a:gd name="connsiteX148" fmla="*/ 395287 w 898525"/>
              <a:gd name="connsiteY148" fmla="*/ 66675 h 1304925"/>
              <a:gd name="connsiteX149" fmla="*/ 506412 w 898525"/>
              <a:gd name="connsiteY149" fmla="*/ 66675 h 1304925"/>
              <a:gd name="connsiteX150" fmla="*/ 472716 w 898525"/>
              <a:gd name="connsiteY150" fmla="*/ 36027 h 1304925"/>
              <a:gd name="connsiteX151" fmla="*/ 450491 w 898525"/>
              <a:gd name="connsiteY151" fmla="*/ 31750 h 1304925"/>
              <a:gd name="connsiteX152" fmla="*/ 450057 w 898525"/>
              <a:gd name="connsiteY152" fmla="*/ 0 h 1304925"/>
              <a:gd name="connsiteX153" fmla="*/ 523043 w 898525"/>
              <a:gd name="connsiteY153" fmla="*/ 35602 h 1304925"/>
              <a:gd name="connsiteX154" fmla="*/ 539500 w 898525"/>
              <a:gd name="connsiteY154" fmla="*/ 66220 h 1304925"/>
              <a:gd name="connsiteX155" fmla="*/ 588873 w 898525"/>
              <a:gd name="connsiteY155" fmla="*/ 66220 h 1304925"/>
              <a:gd name="connsiteX156" fmla="*/ 595313 w 898525"/>
              <a:gd name="connsiteY156" fmla="*/ 73340 h 1304925"/>
              <a:gd name="connsiteX157" fmla="*/ 595313 w 898525"/>
              <a:gd name="connsiteY157" fmla="*/ 113927 h 1304925"/>
              <a:gd name="connsiteX158" fmla="*/ 595313 w 898525"/>
              <a:gd name="connsiteY158" fmla="*/ 145256 h 1304925"/>
              <a:gd name="connsiteX159" fmla="*/ 595313 w 898525"/>
              <a:gd name="connsiteY159" fmla="*/ 178010 h 1304925"/>
              <a:gd name="connsiteX160" fmla="*/ 580287 w 898525"/>
              <a:gd name="connsiteY160" fmla="*/ 193675 h 1304925"/>
              <a:gd name="connsiteX161" fmla="*/ 320542 w 898525"/>
              <a:gd name="connsiteY161" fmla="*/ 193675 h 1304925"/>
              <a:gd name="connsiteX162" fmla="*/ 304800 w 898525"/>
              <a:gd name="connsiteY162" fmla="*/ 178010 h 1304925"/>
              <a:gd name="connsiteX163" fmla="*/ 304800 w 898525"/>
              <a:gd name="connsiteY163" fmla="*/ 145256 h 1304925"/>
              <a:gd name="connsiteX164" fmla="*/ 304800 w 898525"/>
              <a:gd name="connsiteY164" fmla="*/ 113927 h 1304925"/>
              <a:gd name="connsiteX165" fmla="*/ 304800 w 898525"/>
              <a:gd name="connsiteY165" fmla="*/ 73340 h 1304925"/>
              <a:gd name="connsiteX166" fmla="*/ 311956 w 898525"/>
              <a:gd name="connsiteY166" fmla="*/ 66220 h 1304925"/>
              <a:gd name="connsiteX167" fmla="*/ 361329 w 898525"/>
              <a:gd name="connsiteY167" fmla="*/ 66220 h 1304925"/>
              <a:gd name="connsiteX168" fmla="*/ 377071 w 898525"/>
              <a:gd name="connsiteY168" fmla="*/ 35602 h 1304925"/>
              <a:gd name="connsiteX169" fmla="*/ 450057 w 898525"/>
              <a:gd name="connsiteY169" fmla="*/ 0 h 1304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Lst>
            <a:rect l="l" t="t" r="r" b="b"/>
            <a:pathLst>
              <a:path w="898525" h="1304925">
                <a:moveTo>
                  <a:pt x="445952" y="1044575"/>
                </a:moveTo>
                <a:cubicBezTo>
                  <a:pt x="445952" y="1044575"/>
                  <a:pt x="445952" y="1044575"/>
                  <a:pt x="733560" y="1044575"/>
                </a:cubicBezTo>
                <a:cubicBezTo>
                  <a:pt x="742146" y="1044575"/>
                  <a:pt x="749300" y="1051791"/>
                  <a:pt x="749300" y="1060450"/>
                </a:cubicBezTo>
                <a:cubicBezTo>
                  <a:pt x="749300" y="1069109"/>
                  <a:pt x="742146" y="1076325"/>
                  <a:pt x="733560" y="1076325"/>
                </a:cubicBezTo>
                <a:cubicBezTo>
                  <a:pt x="733560" y="1076325"/>
                  <a:pt x="733560" y="1076325"/>
                  <a:pt x="445952" y="1076325"/>
                </a:cubicBezTo>
                <a:cubicBezTo>
                  <a:pt x="437367" y="1076325"/>
                  <a:pt x="430212" y="1069109"/>
                  <a:pt x="430212" y="1060450"/>
                </a:cubicBezTo>
                <a:cubicBezTo>
                  <a:pt x="430212" y="1051791"/>
                  <a:pt x="437367" y="1044575"/>
                  <a:pt x="445952" y="1044575"/>
                </a:cubicBezTo>
                <a:close/>
                <a:moveTo>
                  <a:pt x="445952" y="958850"/>
                </a:moveTo>
                <a:cubicBezTo>
                  <a:pt x="445952" y="958850"/>
                  <a:pt x="445952" y="958850"/>
                  <a:pt x="733560" y="958850"/>
                </a:cubicBezTo>
                <a:cubicBezTo>
                  <a:pt x="742146" y="958850"/>
                  <a:pt x="749300" y="966066"/>
                  <a:pt x="749300" y="974725"/>
                </a:cubicBezTo>
                <a:cubicBezTo>
                  <a:pt x="749300" y="983384"/>
                  <a:pt x="742146" y="990600"/>
                  <a:pt x="733560" y="990600"/>
                </a:cubicBezTo>
                <a:cubicBezTo>
                  <a:pt x="733560" y="990600"/>
                  <a:pt x="733560" y="990600"/>
                  <a:pt x="445952" y="990600"/>
                </a:cubicBezTo>
                <a:cubicBezTo>
                  <a:pt x="437367" y="990600"/>
                  <a:pt x="430212" y="983384"/>
                  <a:pt x="430212" y="974725"/>
                </a:cubicBezTo>
                <a:cubicBezTo>
                  <a:pt x="430212" y="966066"/>
                  <a:pt x="437367" y="958850"/>
                  <a:pt x="445952" y="958850"/>
                </a:cubicBezTo>
                <a:close/>
                <a:moveTo>
                  <a:pt x="164892" y="941387"/>
                </a:moveTo>
                <a:cubicBezTo>
                  <a:pt x="164892" y="941387"/>
                  <a:pt x="164892" y="941387"/>
                  <a:pt x="256759" y="941387"/>
                </a:cubicBezTo>
                <a:cubicBezTo>
                  <a:pt x="256759" y="941387"/>
                  <a:pt x="256759" y="941387"/>
                  <a:pt x="225425" y="972722"/>
                </a:cubicBezTo>
                <a:cubicBezTo>
                  <a:pt x="225425" y="972722"/>
                  <a:pt x="225425" y="972722"/>
                  <a:pt x="180559" y="972722"/>
                </a:cubicBezTo>
                <a:cubicBezTo>
                  <a:pt x="180559" y="972722"/>
                  <a:pt x="180559" y="972722"/>
                  <a:pt x="180559" y="1062453"/>
                </a:cubicBezTo>
                <a:cubicBezTo>
                  <a:pt x="180559" y="1062453"/>
                  <a:pt x="180559" y="1062453"/>
                  <a:pt x="270290" y="1062453"/>
                </a:cubicBezTo>
                <a:cubicBezTo>
                  <a:pt x="270290" y="1062453"/>
                  <a:pt x="270290" y="1062453"/>
                  <a:pt x="270290" y="1058892"/>
                </a:cubicBezTo>
                <a:cubicBezTo>
                  <a:pt x="270290" y="1058892"/>
                  <a:pt x="270290" y="1058892"/>
                  <a:pt x="301625" y="1027557"/>
                </a:cubicBezTo>
                <a:cubicBezTo>
                  <a:pt x="301625" y="1027557"/>
                  <a:pt x="301625" y="1027557"/>
                  <a:pt x="301625" y="1078120"/>
                </a:cubicBezTo>
                <a:cubicBezTo>
                  <a:pt x="301625" y="1086666"/>
                  <a:pt x="295215" y="1093787"/>
                  <a:pt x="285957" y="1093787"/>
                </a:cubicBezTo>
                <a:lnTo>
                  <a:pt x="164892" y="1093787"/>
                </a:lnTo>
                <a:cubicBezTo>
                  <a:pt x="156346" y="1093787"/>
                  <a:pt x="149225" y="1086666"/>
                  <a:pt x="149225" y="1078120"/>
                </a:cubicBezTo>
                <a:cubicBezTo>
                  <a:pt x="149225" y="1078120"/>
                  <a:pt x="149225" y="1078120"/>
                  <a:pt x="149225" y="957054"/>
                </a:cubicBezTo>
                <a:cubicBezTo>
                  <a:pt x="149225" y="948509"/>
                  <a:pt x="156346" y="941387"/>
                  <a:pt x="164892" y="941387"/>
                </a:cubicBezTo>
                <a:close/>
                <a:moveTo>
                  <a:pt x="311196" y="930342"/>
                </a:moveTo>
                <a:cubicBezTo>
                  <a:pt x="317615" y="923925"/>
                  <a:pt x="327600" y="923925"/>
                  <a:pt x="333306" y="930342"/>
                </a:cubicBezTo>
                <a:cubicBezTo>
                  <a:pt x="339725" y="936045"/>
                  <a:pt x="339725" y="946027"/>
                  <a:pt x="333306" y="952443"/>
                </a:cubicBezTo>
                <a:cubicBezTo>
                  <a:pt x="333306" y="952443"/>
                  <a:pt x="333306" y="952443"/>
                  <a:pt x="302637" y="983100"/>
                </a:cubicBezTo>
                <a:cubicBezTo>
                  <a:pt x="302637" y="983100"/>
                  <a:pt x="302637" y="983100"/>
                  <a:pt x="271255" y="1014470"/>
                </a:cubicBezTo>
                <a:cubicBezTo>
                  <a:pt x="271255" y="1014470"/>
                  <a:pt x="271255" y="1014470"/>
                  <a:pt x="247006" y="1038710"/>
                </a:cubicBezTo>
                <a:cubicBezTo>
                  <a:pt x="244153" y="1041562"/>
                  <a:pt x="240587" y="1042988"/>
                  <a:pt x="236307" y="1042988"/>
                </a:cubicBezTo>
                <a:cubicBezTo>
                  <a:pt x="232028" y="1042988"/>
                  <a:pt x="228462" y="1041562"/>
                  <a:pt x="224896" y="1038710"/>
                </a:cubicBezTo>
                <a:cubicBezTo>
                  <a:pt x="224896" y="1038710"/>
                  <a:pt x="224896" y="1038710"/>
                  <a:pt x="197793" y="1010905"/>
                </a:cubicBezTo>
                <a:cubicBezTo>
                  <a:pt x="192087" y="1005202"/>
                  <a:pt x="192087" y="995220"/>
                  <a:pt x="197793" y="988804"/>
                </a:cubicBezTo>
                <a:cubicBezTo>
                  <a:pt x="204212" y="983100"/>
                  <a:pt x="214197" y="983100"/>
                  <a:pt x="219903" y="988804"/>
                </a:cubicBezTo>
                <a:cubicBezTo>
                  <a:pt x="219903" y="988804"/>
                  <a:pt x="219903" y="988804"/>
                  <a:pt x="236307" y="1005202"/>
                </a:cubicBezTo>
                <a:cubicBezTo>
                  <a:pt x="236307" y="1005202"/>
                  <a:pt x="236307" y="1005202"/>
                  <a:pt x="269829" y="971693"/>
                </a:cubicBezTo>
                <a:cubicBezTo>
                  <a:pt x="269829" y="971693"/>
                  <a:pt x="269829" y="971693"/>
                  <a:pt x="297645" y="943888"/>
                </a:cubicBezTo>
                <a:cubicBezTo>
                  <a:pt x="297645" y="943888"/>
                  <a:pt x="297645" y="943888"/>
                  <a:pt x="311196" y="930342"/>
                </a:cubicBezTo>
                <a:close/>
                <a:moveTo>
                  <a:pt x="445952" y="766762"/>
                </a:moveTo>
                <a:cubicBezTo>
                  <a:pt x="445952" y="766762"/>
                  <a:pt x="445952" y="766762"/>
                  <a:pt x="733560" y="766762"/>
                </a:cubicBezTo>
                <a:cubicBezTo>
                  <a:pt x="742146" y="766762"/>
                  <a:pt x="749300" y="773978"/>
                  <a:pt x="749300" y="782637"/>
                </a:cubicBezTo>
                <a:cubicBezTo>
                  <a:pt x="749300" y="791296"/>
                  <a:pt x="742146" y="798512"/>
                  <a:pt x="733560" y="798512"/>
                </a:cubicBezTo>
                <a:cubicBezTo>
                  <a:pt x="733560" y="798512"/>
                  <a:pt x="733560" y="798512"/>
                  <a:pt x="445952" y="798512"/>
                </a:cubicBezTo>
                <a:cubicBezTo>
                  <a:pt x="437367" y="798512"/>
                  <a:pt x="430212" y="791296"/>
                  <a:pt x="430212" y="782637"/>
                </a:cubicBezTo>
                <a:cubicBezTo>
                  <a:pt x="430212" y="773978"/>
                  <a:pt x="437367" y="766762"/>
                  <a:pt x="445952" y="766762"/>
                </a:cubicBezTo>
                <a:close/>
                <a:moveTo>
                  <a:pt x="445952" y="681037"/>
                </a:moveTo>
                <a:cubicBezTo>
                  <a:pt x="445952" y="681037"/>
                  <a:pt x="445952" y="681037"/>
                  <a:pt x="733560" y="681037"/>
                </a:cubicBezTo>
                <a:cubicBezTo>
                  <a:pt x="742146" y="681037"/>
                  <a:pt x="749300" y="688253"/>
                  <a:pt x="749300" y="696912"/>
                </a:cubicBezTo>
                <a:cubicBezTo>
                  <a:pt x="749300" y="705571"/>
                  <a:pt x="742146" y="712787"/>
                  <a:pt x="733560" y="712787"/>
                </a:cubicBezTo>
                <a:cubicBezTo>
                  <a:pt x="733560" y="712787"/>
                  <a:pt x="733560" y="712787"/>
                  <a:pt x="445952" y="712787"/>
                </a:cubicBezTo>
                <a:cubicBezTo>
                  <a:pt x="437367" y="712787"/>
                  <a:pt x="430212" y="705571"/>
                  <a:pt x="430212" y="696912"/>
                </a:cubicBezTo>
                <a:cubicBezTo>
                  <a:pt x="430212" y="688253"/>
                  <a:pt x="437367" y="681037"/>
                  <a:pt x="445952" y="681037"/>
                </a:cubicBezTo>
                <a:close/>
                <a:moveTo>
                  <a:pt x="164892" y="663575"/>
                </a:moveTo>
                <a:cubicBezTo>
                  <a:pt x="164892" y="663575"/>
                  <a:pt x="164892" y="663575"/>
                  <a:pt x="256759" y="663575"/>
                </a:cubicBezTo>
                <a:cubicBezTo>
                  <a:pt x="256759" y="663575"/>
                  <a:pt x="256759" y="663575"/>
                  <a:pt x="225425" y="694910"/>
                </a:cubicBezTo>
                <a:cubicBezTo>
                  <a:pt x="225425" y="694910"/>
                  <a:pt x="225425" y="694910"/>
                  <a:pt x="180559" y="694910"/>
                </a:cubicBezTo>
                <a:cubicBezTo>
                  <a:pt x="180559" y="694910"/>
                  <a:pt x="180559" y="694910"/>
                  <a:pt x="180559" y="784641"/>
                </a:cubicBezTo>
                <a:cubicBezTo>
                  <a:pt x="180559" y="784641"/>
                  <a:pt x="180559" y="784641"/>
                  <a:pt x="270290" y="784641"/>
                </a:cubicBezTo>
                <a:cubicBezTo>
                  <a:pt x="270290" y="784641"/>
                  <a:pt x="270290" y="784641"/>
                  <a:pt x="270290" y="781080"/>
                </a:cubicBezTo>
                <a:cubicBezTo>
                  <a:pt x="270290" y="781080"/>
                  <a:pt x="270290" y="781080"/>
                  <a:pt x="301625" y="749745"/>
                </a:cubicBezTo>
                <a:cubicBezTo>
                  <a:pt x="301625" y="749745"/>
                  <a:pt x="301625" y="749745"/>
                  <a:pt x="301625" y="800308"/>
                </a:cubicBezTo>
                <a:cubicBezTo>
                  <a:pt x="301625" y="808854"/>
                  <a:pt x="295215" y="815975"/>
                  <a:pt x="285957" y="815975"/>
                </a:cubicBezTo>
                <a:cubicBezTo>
                  <a:pt x="285957" y="815975"/>
                  <a:pt x="285957" y="815975"/>
                  <a:pt x="164892" y="815975"/>
                </a:cubicBezTo>
                <a:cubicBezTo>
                  <a:pt x="156346" y="815975"/>
                  <a:pt x="149225" y="808854"/>
                  <a:pt x="149225" y="800308"/>
                </a:cubicBezTo>
                <a:lnTo>
                  <a:pt x="149225" y="679242"/>
                </a:lnTo>
                <a:cubicBezTo>
                  <a:pt x="149225" y="670697"/>
                  <a:pt x="156346" y="663575"/>
                  <a:pt x="164892" y="663575"/>
                </a:cubicBezTo>
                <a:close/>
                <a:moveTo>
                  <a:pt x="311196" y="653404"/>
                </a:moveTo>
                <a:cubicBezTo>
                  <a:pt x="317615" y="647700"/>
                  <a:pt x="327600" y="647700"/>
                  <a:pt x="333306" y="653404"/>
                </a:cubicBezTo>
                <a:cubicBezTo>
                  <a:pt x="339725" y="659820"/>
                  <a:pt x="339725" y="669802"/>
                  <a:pt x="333306" y="676218"/>
                </a:cubicBezTo>
                <a:cubicBezTo>
                  <a:pt x="333306" y="676218"/>
                  <a:pt x="333306" y="676218"/>
                  <a:pt x="302637" y="706875"/>
                </a:cubicBezTo>
                <a:cubicBezTo>
                  <a:pt x="302637" y="706875"/>
                  <a:pt x="302637" y="706875"/>
                  <a:pt x="271255" y="738245"/>
                </a:cubicBezTo>
                <a:cubicBezTo>
                  <a:pt x="271255" y="738245"/>
                  <a:pt x="271255" y="738245"/>
                  <a:pt x="247006" y="761772"/>
                </a:cubicBezTo>
                <a:cubicBezTo>
                  <a:pt x="244153" y="765337"/>
                  <a:pt x="240587" y="766763"/>
                  <a:pt x="236307" y="766763"/>
                </a:cubicBezTo>
                <a:cubicBezTo>
                  <a:pt x="232028" y="766763"/>
                  <a:pt x="228462" y="765337"/>
                  <a:pt x="224896" y="761772"/>
                </a:cubicBezTo>
                <a:cubicBezTo>
                  <a:pt x="224896" y="761772"/>
                  <a:pt x="224896" y="761772"/>
                  <a:pt x="197793" y="734680"/>
                </a:cubicBezTo>
                <a:cubicBezTo>
                  <a:pt x="192087" y="728977"/>
                  <a:pt x="192087" y="718995"/>
                  <a:pt x="197793" y="712579"/>
                </a:cubicBezTo>
                <a:cubicBezTo>
                  <a:pt x="204212" y="706875"/>
                  <a:pt x="214197" y="706875"/>
                  <a:pt x="219903" y="712579"/>
                </a:cubicBezTo>
                <a:cubicBezTo>
                  <a:pt x="219903" y="712579"/>
                  <a:pt x="219903" y="712579"/>
                  <a:pt x="236307" y="728977"/>
                </a:cubicBezTo>
                <a:cubicBezTo>
                  <a:pt x="236307" y="728977"/>
                  <a:pt x="236307" y="728977"/>
                  <a:pt x="269829" y="695468"/>
                </a:cubicBezTo>
                <a:cubicBezTo>
                  <a:pt x="269829" y="695468"/>
                  <a:pt x="269829" y="695468"/>
                  <a:pt x="297645" y="667663"/>
                </a:cubicBezTo>
                <a:cubicBezTo>
                  <a:pt x="297645" y="667663"/>
                  <a:pt x="297645" y="667663"/>
                  <a:pt x="311196" y="653404"/>
                </a:cubicBezTo>
                <a:close/>
                <a:moveTo>
                  <a:pt x="445952" y="485775"/>
                </a:moveTo>
                <a:cubicBezTo>
                  <a:pt x="445952" y="485775"/>
                  <a:pt x="445952" y="485775"/>
                  <a:pt x="733560" y="485775"/>
                </a:cubicBezTo>
                <a:cubicBezTo>
                  <a:pt x="742146" y="485775"/>
                  <a:pt x="749300" y="492991"/>
                  <a:pt x="749300" y="501650"/>
                </a:cubicBezTo>
                <a:cubicBezTo>
                  <a:pt x="749300" y="511031"/>
                  <a:pt x="742146" y="517525"/>
                  <a:pt x="733560" y="517525"/>
                </a:cubicBezTo>
                <a:cubicBezTo>
                  <a:pt x="733560" y="517525"/>
                  <a:pt x="733560" y="517525"/>
                  <a:pt x="445952" y="517525"/>
                </a:cubicBezTo>
                <a:cubicBezTo>
                  <a:pt x="437367" y="517525"/>
                  <a:pt x="430212" y="511031"/>
                  <a:pt x="430212" y="501650"/>
                </a:cubicBezTo>
                <a:cubicBezTo>
                  <a:pt x="430212" y="492991"/>
                  <a:pt x="437367" y="485775"/>
                  <a:pt x="445952" y="485775"/>
                </a:cubicBezTo>
                <a:close/>
                <a:moveTo>
                  <a:pt x="445952" y="400050"/>
                </a:moveTo>
                <a:cubicBezTo>
                  <a:pt x="445952" y="400050"/>
                  <a:pt x="445952" y="400050"/>
                  <a:pt x="733560" y="400050"/>
                </a:cubicBezTo>
                <a:cubicBezTo>
                  <a:pt x="742146" y="400050"/>
                  <a:pt x="749300" y="406544"/>
                  <a:pt x="749300" y="415925"/>
                </a:cubicBezTo>
                <a:cubicBezTo>
                  <a:pt x="749300" y="424584"/>
                  <a:pt x="742146" y="431800"/>
                  <a:pt x="733560" y="431800"/>
                </a:cubicBezTo>
                <a:cubicBezTo>
                  <a:pt x="733560" y="431800"/>
                  <a:pt x="733560" y="431800"/>
                  <a:pt x="445952" y="431800"/>
                </a:cubicBezTo>
                <a:cubicBezTo>
                  <a:pt x="437367" y="431800"/>
                  <a:pt x="430212" y="424584"/>
                  <a:pt x="430212" y="415925"/>
                </a:cubicBezTo>
                <a:cubicBezTo>
                  <a:pt x="430212" y="406544"/>
                  <a:pt x="437367" y="400050"/>
                  <a:pt x="445952" y="400050"/>
                </a:cubicBezTo>
                <a:close/>
                <a:moveTo>
                  <a:pt x="164892" y="382587"/>
                </a:moveTo>
                <a:cubicBezTo>
                  <a:pt x="164892" y="382587"/>
                  <a:pt x="164892" y="382587"/>
                  <a:pt x="256759" y="382587"/>
                </a:cubicBezTo>
                <a:cubicBezTo>
                  <a:pt x="256759" y="382587"/>
                  <a:pt x="256759" y="382587"/>
                  <a:pt x="225425" y="413776"/>
                </a:cubicBezTo>
                <a:lnTo>
                  <a:pt x="180559" y="413776"/>
                </a:lnTo>
                <a:cubicBezTo>
                  <a:pt x="180559" y="413776"/>
                  <a:pt x="180559" y="413776"/>
                  <a:pt x="180559" y="503798"/>
                </a:cubicBezTo>
                <a:cubicBezTo>
                  <a:pt x="180559" y="503798"/>
                  <a:pt x="180559" y="503798"/>
                  <a:pt x="270290" y="503798"/>
                </a:cubicBezTo>
                <a:cubicBezTo>
                  <a:pt x="270290" y="503798"/>
                  <a:pt x="270290" y="503798"/>
                  <a:pt x="270290" y="499545"/>
                </a:cubicBezTo>
                <a:cubicBezTo>
                  <a:pt x="270290" y="499545"/>
                  <a:pt x="270290" y="499545"/>
                  <a:pt x="301625" y="468356"/>
                </a:cubicBezTo>
                <a:cubicBezTo>
                  <a:pt x="301625" y="468356"/>
                  <a:pt x="301625" y="468356"/>
                  <a:pt x="301625" y="519393"/>
                </a:cubicBezTo>
                <a:cubicBezTo>
                  <a:pt x="301625" y="527899"/>
                  <a:pt x="295215" y="534987"/>
                  <a:pt x="285957" y="534987"/>
                </a:cubicBezTo>
                <a:cubicBezTo>
                  <a:pt x="285957" y="534987"/>
                  <a:pt x="285957" y="534987"/>
                  <a:pt x="164892" y="534987"/>
                </a:cubicBezTo>
                <a:cubicBezTo>
                  <a:pt x="156346" y="534987"/>
                  <a:pt x="149225" y="527899"/>
                  <a:pt x="149225" y="519393"/>
                </a:cubicBezTo>
                <a:cubicBezTo>
                  <a:pt x="149225" y="519393"/>
                  <a:pt x="149225" y="519393"/>
                  <a:pt x="149225" y="398182"/>
                </a:cubicBezTo>
                <a:cubicBezTo>
                  <a:pt x="149225" y="389675"/>
                  <a:pt x="156346" y="382587"/>
                  <a:pt x="164892" y="382587"/>
                </a:cubicBezTo>
                <a:close/>
                <a:moveTo>
                  <a:pt x="311196" y="371542"/>
                </a:moveTo>
                <a:cubicBezTo>
                  <a:pt x="317615" y="365125"/>
                  <a:pt x="327600" y="365125"/>
                  <a:pt x="333306" y="371542"/>
                </a:cubicBezTo>
                <a:cubicBezTo>
                  <a:pt x="339725" y="377958"/>
                  <a:pt x="339725" y="387227"/>
                  <a:pt x="333306" y="393643"/>
                </a:cubicBezTo>
                <a:cubicBezTo>
                  <a:pt x="333306" y="393643"/>
                  <a:pt x="333306" y="393643"/>
                  <a:pt x="302637" y="424300"/>
                </a:cubicBezTo>
                <a:cubicBezTo>
                  <a:pt x="302637" y="424300"/>
                  <a:pt x="302637" y="424300"/>
                  <a:pt x="271255" y="455670"/>
                </a:cubicBezTo>
                <a:cubicBezTo>
                  <a:pt x="271255" y="455670"/>
                  <a:pt x="271255" y="455670"/>
                  <a:pt x="247006" y="479910"/>
                </a:cubicBezTo>
                <a:cubicBezTo>
                  <a:pt x="244153" y="482762"/>
                  <a:pt x="240587" y="484188"/>
                  <a:pt x="236307" y="484188"/>
                </a:cubicBezTo>
                <a:cubicBezTo>
                  <a:pt x="232028" y="484188"/>
                  <a:pt x="228462" y="482762"/>
                  <a:pt x="224896" y="479910"/>
                </a:cubicBezTo>
                <a:cubicBezTo>
                  <a:pt x="224896" y="479910"/>
                  <a:pt x="224896" y="479910"/>
                  <a:pt x="197793" y="452818"/>
                </a:cubicBezTo>
                <a:cubicBezTo>
                  <a:pt x="192087" y="446402"/>
                  <a:pt x="192087" y="436420"/>
                  <a:pt x="197793" y="430717"/>
                </a:cubicBezTo>
                <a:cubicBezTo>
                  <a:pt x="204212" y="424300"/>
                  <a:pt x="214197" y="424300"/>
                  <a:pt x="219903" y="430717"/>
                </a:cubicBezTo>
                <a:cubicBezTo>
                  <a:pt x="219903" y="430717"/>
                  <a:pt x="219903" y="430717"/>
                  <a:pt x="236307" y="446402"/>
                </a:cubicBezTo>
                <a:cubicBezTo>
                  <a:pt x="236307" y="446402"/>
                  <a:pt x="236307" y="446402"/>
                  <a:pt x="269829" y="412893"/>
                </a:cubicBezTo>
                <a:cubicBezTo>
                  <a:pt x="269829" y="412893"/>
                  <a:pt x="269829" y="412893"/>
                  <a:pt x="297645" y="385801"/>
                </a:cubicBezTo>
                <a:cubicBezTo>
                  <a:pt x="297645" y="385801"/>
                  <a:pt x="297645" y="385801"/>
                  <a:pt x="311196" y="371542"/>
                </a:cubicBezTo>
                <a:close/>
                <a:moveTo>
                  <a:pt x="15714" y="114300"/>
                </a:moveTo>
                <a:cubicBezTo>
                  <a:pt x="15714" y="114300"/>
                  <a:pt x="15714" y="114300"/>
                  <a:pt x="272843" y="114300"/>
                </a:cubicBezTo>
                <a:cubicBezTo>
                  <a:pt x="272843" y="114300"/>
                  <a:pt x="272843" y="114300"/>
                  <a:pt x="272843" y="145670"/>
                </a:cubicBezTo>
                <a:cubicBezTo>
                  <a:pt x="272843" y="145670"/>
                  <a:pt x="272843" y="145670"/>
                  <a:pt x="31427" y="145670"/>
                </a:cubicBezTo>
                <a:cubicBezTo>
                  <a:pt x="31427" y="145670"/>
                  <a:pt x="31427" y="145670"/>
                  <a:pt x="31427" y="1273555"/>
                </a:cubicBezTo>
                <a:cubicBezTo>
                  <a:pt x="31427" y="1273555"/>
                  <a:pt x="31427" y="1273555"/>
                  <a:pt x="867098" y="1273555"/>
                </a:cubicBezTo>
                <a:cubicBezTo>
                  <a:pt x="867098" y="1273555"/>
                  <a:pt x="867098" y="1273555"/>
                  <a:pt x="867098" y="145670"/>
                </a:cubicBezTo>
                <a:cubicBezTo>
                  <a:pt x="867098" y="145670"/>
                  <a:pt x="867098" y="145670"/>
                  <a:pt x="625682" y="145670"/>
                </a:cubicBezTo>
                <a:cubicBezTo>
                  <a:pt x="625682" y="145670"/>
                  <a:pt x="625682" y="145670"/>
                  <a:pt x="625682" y="114300"/>
                </a:cubicBezTo>
                <a:cubicBezTo>
                  <a:pt x="625682" y="114300"/>
                  <a:pt x="625682" y="114300"/>
                  <a:pt x="882812" y="114300"/>
                </a:cubicBezTo>
                <a:cubicBezTo>
                  <a:pt x="892097" y="114300"/>
                  <a:pt x="898525" y="121430"/>
                  <a:pt x="898525" y="129985"/>
                </a:cubicBezTo>
                <a:cubicBezTo>
                  <a:pt x="898525" y="129985"/>
                  <a:pt x="898525" y="129985"/>
                  <a:pt x="898525" y="1289240"/>
                </a:cubicBezTo>
                <a:cubicBezTo>
                  <a:pt x="898525" y="1298509"/>
                  <a:pt x="892097" y="1304925"/>
                  <a:pt x="882812" y="1304925"/>
                </a:cubicBezTo>
                <a:cubicBezTo>
                  <a:pt x="882812" y="1304925"/>
                  <a:pt x="882812" y="1304925"/>
                  <a:pt x="15714" y="1304925"/>
                </a:cubicBezTo>
                <a:cubicBezTo>
                  <a:pt x="6428" y="1304925"/>
                  <a:pt x="0" y="1298509"/>
                  <a:pt x="0" y="1289240"/>
                </a:cubicBezTo>
                <a:cubicBezTo>
                  <a:pt x="0" y="1289240"/>
                  <a:pt x="0" y="1289240"/>
                  <a:pt x="0" y="129985"/>
                </a:cubicBezTo>
                <a:cubicBezTo>
                  <a:pt x="0" y="121430"/>
                  <a:pt x="6428" y="114300"/>
                  <a:pt x="15714" y="114300"/>
                </a:cubicBezTo>
                <a:close/>
                <a:moveTo>
                  <a:pt x="450491" y="31750"/>
                </a:moveTo>
                <a:cubicBezTo>
                  <a:pt x="443322" y="31750"/>
                  <a:pt x="435436" y="33176"/>
                  <a:pt x="428983" y="36027"/>
                </a:cubicBezTo>
                <a:cubicBezTo>
                  <a:pt x="413928" y="41016"/>
                  <a:pt x="401740" y="52420"/>
                  <a:pt x="395287" y="66675"/>
                </a:cubicBezTo>
                <a:cubicBezTo>
                  <a:pt x="395287" y="66675"/>
                  <a:pt x="395287" y="66675"/>
                  <a:pt x="506412" y="66675"/>
                </a:cubicBezTo>
                <a:cubicBezTo>
                  <a:pt x="499243" y="52420"/>
                  <a:pt x="487055" y="41016"/>
                  <a:pt x="472716" y="36027"/>
                </a:cubicBezTo>
                <a:cubicBezTo>
                  <a:pt x="465547" y="33176"/>
                  <a:pt x="458378" y="31750"/>
                  <a:pt x="450491" y="31750"/>
                </a:cubicBezTo>
                <a:close/>
                <a:moveTo>
                  <a:pt x="450057" y="0"/>
                </a:moveTo>
                <a:cubicBezTo>
                  <a:pt x="480110" y="0"/>
                  <a:pt x="505870" y="13529"/>
                  <a:pt x="523043" y="35602"/>
                </a:cubicBezTo>
                <a:cubicBezTo>
                  <a:pt x="530198" y="44147"/>
                  <a:pt x="535923" y="54827"/>
                  <a:pt x="539500" y="66220"/>
                </a:cubicBezTo>
                <a:cubicBezTo>
                  <a:pt x="539500" y="66220"/>
                  <a:pt x="539500" y="66220"/>
                  <a:pt x="588873" y="66220"/>
                </a:cubicBezTo>
                <a:cubicBezTo>
                  <a:pt x="592451" y="66220"/>
                  <a:pt x="595313" y="69068"/>
                  <a:pt x="595313" y="73340"/>
                </a:cubicBezTo>
                <a:cubicBezTo>
                  <a:pt x="595313" y="73340"/>
                  <a:pt x="595313" y="73340"/>
                  <a:pt x="595313" y="113927"/>
                </a:cubicBezTo>
                <a:cubicBezTo>
                  <a:pt x="595313" y="113927"/>
                  <a:pt x="595313" y="113927"/>
                  <a:pt x="595313" y="145256"/>
                </a:cubicBezTo>
                <a:cubicBezTo>
                  <a:pt x="595313" y="145256"/>
                  <a:pt x="595313" y="145256"/>
                  <a:pt x="595313" y="178010"/>
                </a:cubicBezTo>
                <a:cubicBezTo>
                  <a:pt x="595313" y="186555"/>
                  <a:pt x="588873" y="193675"/>
                  <a:pt x="580287" y="193675"/>
                </a:cubicBezTo>
                <a:lnTo>
                  <a:pt x="320542" y="193675"/>
                </a:lnTo>
                <a:cubicBezTo>
                  <a:pt x="311956" y="193675"/>
                  <a:pt x="304800" y="186555"/>
                  <a:pt x="304800" y="178010"/>
                </a:cubicBezTo>
                <a:cubicBezTo>
                  <a:pt x="304800" y="178010"/>
                  <a:pt x="304800" y="178010"/>
                  <a:pt x="304800" y="145256"/>
                </a:cubicBezTo>
                <a:cubicBezTo>
                  <a:pt x="304800" y="145256"/>
                  <a:pt x="304800" y="145256"/>
                  <a:pt x="304800" y="113927"/>
                </a:cubicBezTo>
                <a:cubicBezTo>
                  <a:pt x="304800" y="113927"/>
                  <a:pt x="304800" y="113927"/>
                  <a:pt x="304800" y="73340"/>
                </a:cubicBezTo>
                <a:cubicBezTo>
                  <a:pt x="304800" y="69068"/>
                  <a:pt x="308378" y="66220"/>
                  <a:pt x="311956" y="66220"/>
                </a:cubicBezTo>
                <a:cubicBezTo>
                  <a:pt x="311956" y="66220"/>
                  <a:pt x="311956" y="66220"/>
                  <a:pt x="361329" y="66220"/>
                </a:cubicBezTo>
                <a:cubicBezTo>
                  <a:pt x="364906" y="54827"/>
                  <a:pt x="369915" y="44147"/>
                  <a:pt x="377071" y="35602"/>
                </a:cubicBezTo>
                <a:cubicBezTo>
                  <a:pt x="394244" y="13529"/>
                  <a:pt x="420719" y="0"/>
                  <a:pt x="450057" y="0"/>
                </a:cubicBezTo>
                <a:close/>
              </a:path>
            </a:pathLst>
          </a:custGeom>
          <a:solidFill>
            <a:schemeClr val="bg1">
              <a:lumMod val="100000"/>
            </a:schemeClr>
          </a:solidFill>
          <a:ln>
            <a:noFill/>
          </a:ln>
        </p:spPr>
        <p:txBody>
          <a:bodyPr vert="horz" wrap="square" lIns="91440" tIns="45720" rIns="91440" bIns="45720" numCol="1" anchor="t" anchorCtr="0" compatLnSpc="1">
            <a:prstTxWarp prst="textNoShape">
              <a:avLst/>
            </a:prstTxWarp>
            <a:noAutofit/>
          </a:bodyPr>
          <a:lstStyle/>
          <a:p>
            <a:endParaRPr lang="en-US">
              <a:solidFill>
                <a:schemeClr val="tx2">
                  <a:lumMod val="100000"/>
                </a:schemeClr>
              </a:solidFill>
            </a:endParaRPr>
          </a:p>
        </p:txBody>
      </p:sp>
      <p:grpSp>
        <p:nvGrpSpPr>
          <p:cNvPr id="47" name="Group 46">
            <a:extLst>
              <a:ext uri="{FF2B5EF4-FFF2-40B4-BE49-F238E27FC236}">
                <a16:creationId xmlns:a16="http://schemas.microsoft.com/office/drawing/2014/main" id="{5BA1C982-0520-4667-9756-E048194CDE56}"/>
              </a:ext>
            </a:extLst>
          </p:cNvPr>
          <p:cNvGrpSpPr>
            <a:grpSpLocks noChangeAspect="1"/>
          </p:cNvGrpSpPr>
          <p:nvPr/>
        </p:nvGrpSpPr>
        <p:grpSpPr>
          <a:xfrm>
            <a:off x="4907567" y="3429000"/>
            <a:ext cx="797908" cy="797908"/>
            <a:chOff x="5275263" y="2606675"/>
            <a:chExt cx="1644650" cy="1644650"/>
          </a:xfrm>
        </p:grpSpPr>
        <p:sp>
          <p:nvSpPr>
            <p:cNvPr id="50" name="AutoShape 3">
              <a:extLst>
                <a:ext uri="{FF2B5EF4-FFF2-40B4-BE49-F238E27FC236}">
                  <a16:creationId xmlns:a16="http://schemas.microsoft.com/office/drawing/2014/main" id="{E2682056-D8DB-46CF-86C8-269D32BEC3B5}"/>
                </a:ext>
              </a:extLst>
            </p:cNvPr>
            <p:cNvSpPr>
              <a:spLocks noChangeAspect="1" noChangeArrowheads="1" noTextEdit="1"/>
            </p:cNvSpPr>
            <p:nvPr/>
          </p:nvSpPr>
          <p:spPr bwMode="auto">
            <a:xfrm>
              <a:off x="5275263"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51" name="Group 50">
              <a:extLst>
                <a:ext uri="{FF2B5EF4-FFF2-40B4-BE49-F238E27FC236}">
                  <a16:creationId xmlns:a16="http://schemas.microsoft.com/office/drawing/2014/main" id="{B0D7FBF9-7945-4CC9-8607-5A14D37A5867}"/>
                </a:ext>
              </a:extLst>
            </p:cNvPr>
            <p:cNvGrpSpPr/>
            <p:nvPr/>
          </p:nvGrpSpPr>
          <p:grpSpPr>
            <a:xfrm>
              <a:off x="5343800" y="2882900"/>
              <a:ext cx="1505990" cy="1095375"/>
              <a:chOff x="5343800" y="2882900"/>
              <a:chExt cx="1505990" cy="1095375"/>
            </a:xfrm>
          </p:grpSpPr>
          <p:sp>
            <p:nvSpPr>
              <p:cNvPr id="52" name="Freeform 13">
                <a:extLst>
                  <a:ext uri="{FF2B5EF4-FFF2-40B4-BE49-F238E27FC236}">
                    <a16:creationId xmlns:a16="http://schemas.microsoft.com/office/drawing/2014/main" id="{668145EB-F960-4638-A300-D91B3B727F7E}"/>
                  </a:ext>
                </a:extLst>
              </p:cNvPr>
              <p:cNvSpPr>
                <a:spLocks/>
              </p:cNvSpPr>
              <p:nvPr/>
            </p:nvSpPr>
            <p:spPr bwMode="auto">
              <a:xfrm>
                <a:off x="5343800" y="2919413"/>
                <a:ext cx="1314176" cy="1058862"/>
              </a:xfrm>
              <a:custGeom>
                <a:avLst/>
                <a:gdLst>
                  <a:gd name="connsiteX0" fmla="*/ 954787 w 1314176"/>
                  <a:gd name="connsiteY0" fmla="*/ 515937 h 1058862"/>
                  <a:gd name="connsiteX1" fmla="*/ 980458 w 1314176"/>
                  <a:gd name="connsiteY1" fmla="*/ 549469 h 1058862"/>
                  <a:gd name="connsiteX2" fmla="*/ 978319 w 1314176"/>
                  <a:gd name="connsiteY2" fmla="*/ 563737 h 1058862"/>
                  <a:gd name="connsiteX3" fmla="*/ 977605 w 1314176"/>
                  <a:gd name="connsiteY3" fmla="*/ 590135 h 1058862"/>
                  <a:gd name="connsiteX4" fmla="*/ 971901 w 1314176"/>
                  <a:gd name="connsiteY4" fmla="*/ 644356 h 1058862"/>
                  <a:gd name="connsiteX5" fmla="*/ 934821 w 1314176"/>
                  <a:gd name="connsiteY5" fmla="*/ 702144 h 1058862"/>
                  <a:gd name="connsiteX6" fmla="*/ 916994 w 1314176"/>
                  <a:gd name="connsiteY6" fmla="*/ 727828 h 1058862"/>
                  <a:gd name="connsiteX7" fmla="*/ 966196 w 1314176"/>
                  <a:gd name="connsiteY7" fmla="*/ 738529 h 1058862"/>
                  <a:gd name="connsiteX8" fmla="*/ 979032 w 1314176"/>
                  <a:gd name="connsiteY8" fmla="*/ 742810 h 1058862"/>
                  <a:gd name="connsiteX9" fmla="*/ 984023 w 1314176"/>
                  <a:gd name="connsiteY9" fmla="*/ 755652 h 1058862"/>
                  <a:gd name="connsiteX10" fmla="*/ 988302 w 1314176"/>
                  <a:gd name="connsiteY10" fmla="*/ 887637 h 1058862"/>
                  <a:gd name="connsiteX11" fmla="*/ 1051765 w 1314176"/>
                  <a:gd name="connsiteY11" fmla="*/ 894772 h 1058862"/>
                  <a:gd name="connsiteX12" fmla="*/ 1113089 w 1314176"/>
                  <a:gd name="connsiteY12" fmla="*/ 891205 h 1058862"/>
                  <a:gd name="connsiteX13" fmla="*/ 1125212 w 1314176"/>
                  <a:gd name="connsiteY13" fmla="*/ 893345 h 1058862"/>
                  <a:gd name="connsiteX14" fmla="*/ 1132342 w 1314176"/>
                  <a:gd name="connsiteY14" fmla="*/ 906187 h 1058862"/>
                  <a:gd name="connsiteX15" fmla="*/ 1132342 w 1314176"/>
                  <a:gd name="connsiteY15" fmla="*/ 1027471 h 1058862"/>
                  <a:gd name="connsiteX16" fmla="*/ 1282801 w 1314176"/>
                  <a:gd name="connsiteY16" fmla="*/ 993226 h 1058862"/>
                  <a:gd name="connsiteX17" fmla="*/ 1282801 w 1314176"/>
                  <a:gd name="connsiteY17" fmla="*/ 968969 h 1058862"/>
                  <a:gd name="connsiteX18" fmla="*/ 1314176 w 1314176"/>
                  <a:gd name="connsiteY18" fmla="*/ 959694 h 1058862"/>
                  <a:gd name="connsiteX19" fmla="*/ 1314176 w 1314176"/>
                  <a:gd name="connsiteY19" fmla="*/ 1002501 h 1058862"/>
                  <a:gd name="connsiteX20" fmla="*/ 1306332 w 1314176"/>
                  <a:gd name="connsiteY20" fmla="*/ 1016056 h 1058862"/>
                  <a:gd name="connsiteX21" fmla="*/ 1131629 w 1314176"/>
                  <a:gd name="connsiteY21" fmla="*/ 1058862 h 1058862"/>
                  <a:gd name="connsiteX22" fmla="*/ 1115942 w 1314176"/>
                  <a:gd name="connsiteY22" fmla="*/ 1058149 h 1058862"/>
                  <a:gd name="connsiteX23" fmla="*/ 1100967 w 1314176"/>
                  <a:gd name="connsiteY23" fmla="*/ 1042453 h 1058862"/>
                  <a:gd name="connsiteX24" fmla="*/ 1100967 w 1314176"/>
                  <a:gd name="connsiteY24" fmla="*/ 924023 h 1058862"/>
                  <a:gd name="connsiteX25" fmla="*/ 1053191 w 1314176"/>
                  <a:gd name="connsiteY25" fmla="*/ 926163 h 1058862"/>
                  <a:gd name="connsiteX26" fmla="*/ 966196 w 1314176"/>
                  <a:gd name="connsiteY26" fmla="*/ 909754 h 1058862"/>
                  <a:gd name="connsiteX27" fmla="*/ 949796 w 1314176"/>
                  <a:gd name="connsiteY27" fmla="*/ 819148 h 1058862"/>
                  <a:gd name="connsiteX28" fmla="*/ 951222 w 1314176"/>
                  <a:gd name="connsiteY28" fmla="*/ 770634 h 1058862"/>
                  <a:gd name="connsiteX29" fmla="*/ 887045 w 1314176"/>
                  <a:gd name="connsiteY29" fmla="*/ 739243 h 1058862"/>
                  <a:gd name="connsiteX30" fmla="*/ 912716 w 1314176"/>
                  <a:gd name="connsiteY30" fmla="*/ 680027 h 1058862"/>
                  <a:gd name="connsiteX31" fmla="*/ 942665 w 1314176"/>
                  <a:gd name="connsiteY31" fmla="*/ 632941 h 1058862"/>
                  <a:gd name="connsiteX32" fmla="*/ 946230 w 1314176"/>
                  <a:gd name="connsiteY32" fmla="*/ 589421 h 1058862"/>
                  <a:gd name="connsiteX33" fmla="*/ 946943 w 1314176"/>
                  <a:gd name="connsiteY33" fmla="*/ 561597 h 1058862"/>
                  <a:gd name="connsiteX34" fmla="*/ 954787 w 1314176"/>
                  <a:gd name="connsiteY34" fmla="*/ 515937 h 1058862"/>
                  <a:gd name="connsiteX35" fmla="*/ 316828 w 1314176"/>
                  <a:gd name="connsiteY35" fmla="*/ 352425 h 1058862"/>
                  <a:gd name="connsiteX36" fmla="*/ 545914 w 1314176"/>
                  <a:gd name="connsiteY36" fmla="*/ 463958 h 1058862"/>
                  <a:gd name="connsiteX37" fmla="*/ 535209 w 1314176"/>
                  <a:gd name="connsiteY37" fmla="*/ 481831 h 1058862"/>
                  <a:gd name="connsiteX38" fmla="*/ 517367 w 1314176"/>
                  <a:gd name="connsiteY38" fmla="*/ 508285 h 1058862"/>
                  <a:gd name="connsiteX39" fmla="*/ 179091 w 1314176"/>
                  <a:gd name="connsiteY39" fmla="*/ 755658 h 1058862"/>
                  <a:gd name="connsiteX40" fmla="*/ 258307 w 1314176"/>
                  <a:gd name="connsiteY40" fmla="*/ 940115 h 1058862"/>
                  <a:gd name="connsiteX41" fmla="*/ 222624 w 1314176"/>
                  <a:gd name="connsiteY41" fmla="*/ 936541 h 1058862"/>
                  <a:gd name="connsiteX42" fmla="*/ 195505 w 1314176"/>
                  <a:gd name="connsiteY42" fmla="*/ 927961 h 1058862"/>
                  <a:gd name="connsiteX43" fmla="*/ 44208 w 1314176"/>
                  <a:gd name="connsiteY43" fmla="*/ 508285 h 1058862"/>
                  <a:gd name="connsiteX44" fmla="*/ 316828 w 1314176"/>
                  <a:gd name="connsiteY44" fmla="*/ 352425 h 1058862"/>
                  <a:gd name="connsiteX45" fmla="*/ 788695 w 1314176"/>
                  <a:gd name="connsiteY45" fmla="*/ 0 h 1058862"/>
                  <a:gd name="connsiteX46" fmla="*/ 1042015 w 1314176"/>
                  <a:gd name="connsiteY46" fmla="*/ 0 h 1058862"/>
                  <a:gd name="connsiteX47" fmla="*/ 1079225 w 1314176"/>
                  <a:gd name="connsiteY47" fmla="*/ 37211 h 1058862"/>
                  <a:gd name="connsiteX48" fmla="*/ 1079225 w 1314176"/>
                  <a:gd name="connsiteY48" fmla="*/ 197503 h 1058862"/>
                  <a:gd name="connsiteX49" fmla="*/ 1042015 w 1314176"/>
                  <a:gd name="connsiteY49" fmla="*/ 234714 h 1058862"/>
                  <a:gd name="connsiteX50" fmla="*/ 978327 w 1314176"/>
                  <a:gd name="connsiteY50" fmla="*/ 234714 h 1058862"/>
                  <a:gd name="connsiteX51" fmla="*/ 978327 w 1314176"/>
                  <a:gd name="connsiteY51" fmla="*/ 320585 h 1058862"/>
                  <a:gd name="connsiteX52" fmla="*/ 969740 w 1314176"/>
                  <a:gd name="connsiteY52" fmla="*/ 327025 h 1058862"/>
                  <a:gd name="connsiteX53" fmla="*/ 957575 w 1314176"/>
                  <a:gd name="connsiteY53" fmla="*/ 320585 h 1058862"/>
                  <a:gd name="connsiteX54" fmla="*/ 878144 w 1314176"/>
                  <a:gd name="connsiteY54" fmla="*/ 234714 h 1058862"/>
                  <a:gd name="connsiteX55" fmla="*/ 788695 w 1314176"/>
                  <a:gd name="connsiteY55" fmla="*/ 234714 h 1058862"/>
                  <a:gd name="connsiteX56" fmla="*/ 752200 w 1314176"/>
                  <a:gd name="connsiteY56" fmla="*/ 197503 h 1058862"/>
                  <a:gd name="connsiteX57" fmla="*/ 752200 w 1314176"/>
                  <a:gd name="connsiteY57" fmla="*/ 196072 h 1058862"/>
                  <a:gd name="connsiteX58" fmla="*/ 752200 w 1314176"/>
                  <a:gd name="connsiteY58" fmla="*/ 37211 h 1058862"/>
                  <a:gd name="connsiteX59" fmla="*/ 772952 w 1314176"/>
                  <a:gd name="connsiteY59" fmla="*/ 3578 h 1058862"/>
                  <a:gd name="connsiteX60" fmla="*/ 777962 w 1314176"/>
                  <a:gd name="connsiteY60" fmla="*/ 1431 h 1058862"/>
                  <a:gd name="connsiteX61" fmla="*/ 788695 w 1314176"/>
                  <a:gd name="connsiteY61" fmla="*/ 0 h 1058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1314176" h="1058862">
                    <a:moveTo>
                      <a:pt x="954787" y="515937"/>
                    </a:moveTo>
                    <a:cubicBezTo>
                      <a:pt x="962631" y="527352"/>
                      <a:pt x="971188" y="538767"/>
                      <a:pt x="980458" y="549469"/>
                    </a:cubicBezTo>
                    <a:cubicBezTo>
                      <a:pt x="979745" y="555176"/>
                      <a:pt x="979032" y="560170"/>
                      <a:pt x="978319" y="563737"/>
                    </a:cubicBezTo>
                    <a:cubicBezTo>
                      <a:pt x="977605" y="570872"/>
                      <a:pt x="977605" y="580146"/>
                      <a:pt x="977605" y="590135"/>
                    </a:cubicBezTo>
                    <a:cubicBezTo>
                      <a:pt x="976892" y="617245"/>
                      <a:pt x="976179" y="634368"/>
                      <a:pt x="971901" y="644356"/>
                    </a:cubicBezTo>
                    <a:cubicBezTo>
                      <a:pt x="968335" y="652917"/>
                      <a:pt x="955500" y="682168"/>
                      <a:pt x="934821" y="702144"/>
                    </a:cubicBezTo>
                    <a:cubicBezTo>
                      <a:pt x="924838" y="712846"/>
                      <a:pt x="919133" y="722834"/>
                      <a:pt x="916994" y="727828"/>
                    </a:cubicBezTo>
                    <a:cubicBezTo>
                      <a:pt x="921986" y="733535"/>
                      <a:pt x="937673" y="742096"/>
                      <a:pt x="966196" y="738529"/>
                    </a:cubicBezTo>
                    <a:cubicBezTo>
                      <a:pt x="971188" y="737816"/>
                      <a:pt x="975466" y="739956"/>
                      <a:pt x="979032" y="742810"/>
                    </a:cubicBezTo>
                    <a:cubicBezTo>
                      <a:pt x="982597" y="746377"/>
                      <a:pt x="984023" y="750658"/>
                      <a:pt x="984023" y="755652"/>
                    </a:cubicBezTo>
                    <a:cubicBezTo>
                      <a:pt x="979032" y="817007"/>
                      <a:pt x="981171" y="876936"/>
                      <a:pt x="988302" y="887637"/>
                    </a:cubicBezTo>
                    <a:cubicBezTo>
                      <a:pt x="990441" y="889064"/>
                      <a:pt x="1001850" y="894772"/>
                      <a:pt x="1051765" y="894772"/>
                    </a:cubicBezTo>
                    <a:cubicBezTo>
                      <a:pt x="1081001" y="894058"/>
                      <a:pt x="1108098" y="891918"/>
                      <a:pt x="1113089" y="891205"/>
                    </a:cubicBezTo>
                    <a:cubicBezTo>
                      <a:pt x="1117368" y="890491"/>
                      <a:pt x="1121646" y="891205"/>
                      <a:pt x="1125212" y="893345"/>
                    </a:cubicBezTo>
                    <a:cubicBezTo>
                      <a:pt x="1129490" y="896199"/>
                      <a:pt x="1132342" y="901193"/>
                      <a:pt x="1132342" y="906187"/>
                    </a:cubicBezTo>
                    <a:cubicBezTo>
                      <a:pt x="1132342" y="906187"/>
                      <a:pt x="1132342" y="906187"/>
                      <a:pt x="1132342" y="1027471"/>
                    </a:cubicBezTo>
                    <a:cubicBezTo>
                      <a:pt x="1161578" y="1026758"/>
                      <a:pt x="1227894" y="1023190"/>
                      <a:pt x="1282801" y="993226"/>
                    </a:cubicBezTo>
                    <a:lnTo>
                      <a:pt x="1282801" y="968969"/>
                    </a:lnTo>
                    <a:cubicBezTo>
                      <a:pt x="1292071" y="966829"/>
                      <a:pt x="1302767" y="963975"/>
                      <a:pt x="1314176" y="959694"/>
                    </a:cubicBezTo>
                    <a:cubicBezTo>
                      <a:pt x="1314176" y="959694"/>
                      <a:pt x="1314176" y="959694"/>
                      <a:pt x="1314176" y="1002501"/>
                    </a:cubicBezTo>
                    <a:cubicBezTo>
                      <a:pt x="1314176" y="1008208"/>
                      <a:pt x="1311324" y="1013202"/>
                      <a:pt x="1306332" y="1016056"/>
                    </a:cubicBezTo>
                    <a:cubicBezTo>
                      <a:pt x="1242869" y="1054582"/>
                      <a:pt x="1165144" y="1058862"/>
                      <a:pt x="1131629" y="1058862"/>
                    </a:cubicBezTo>
                    <a:cubicBezTo>
                      <a:pt x="1122359" y="1058862"/>
                      <a:pt x="1116655" y="1058149"/>
                      <a:pt x="1115942" y="1058149"/>
                    </a:cubicBezTo>
                    <a:cubicBezTo>
                      <a:pt x="1107385" y="1057435"/>
                      <a:pt x="1100967" y="1051014"/>
                      <a:pt x="1100967" y="1042453"/>
                    </a:cubicBezTo>
                    <a:cubicBezTo>
                      <a:pt x="1100967" y="1042453"/>
                      <a:pt x="1100967" y="1042453"/>
                      <a:pt x="1100967" y="924023"/>
                    </a:cubicBezTo>
                    <a:cubicBezTo>
                      <a:pt x="1084566" y="925450"/>
                      <a:pt x="1063174" y="926163"/>
                      <a:pt x="1053191" y="926163"/>
                    </a:cubicBezTo>
                    <a:cubicBezTo>
                      <a:pt x="990441" y="926163"/>
                      <a:pt x="974040" y="917602"/>
                      <a:pt x="966196" y="909754"/>
                    </a:cubicBezTo>
                    <a:cubicBezTo>
                      <a:pt x="958352" y="901193"/>
                      <a:pt x="949796" y="884070"/>
                      <a:pt x="949796" y="819148"/>
                    </a:cubicBezTo>
                    <a:cubicBezTo>
                      <a:pt x="949796" y="800598"/>
                      <a:pt x="950509" y="783476"/>
                      <a:pt x="951222" y="770634"/>
                    </a:cubicBezTo>
                    <a:cubicBezTo>
                      <a:pt x="911290" y="769920"/>
                      <a:pt x="892037" y="750658"/>
                      <a:pt x="887045" y="739243"/>
                    </a:cubicBezTo>
                    <a:cubicBezTo>
                      <a:pt x="879201" y="720693"/>
                      <a:pt x="899880" y="693583"/>
                      <a:pt x="912716" y="680027"/>
                    </a:cubicBezTo>
                    <a:cubicBezTo>
                      <a:pt x="925551" y="667186"/>
                      <a:pt x="936960" y="647209"/>
                      <a:pt x="942665" y="632941"/>
                    </a:cubicBezTo>
                    <a:cubicBezTo>
                      <a:pt x="944804" y="627233"/>
                      <a:pt x="945517" y="603690"/>
                      <a:pt x="946230" y="589421"/>
                    </a:cubicBezTo>
                    <a:cubicBezTo>
                      <a:pt x="946230" y="578720"/>
                      <a:pt x="946230" y="568731"/>
                      <a:pt x="946943" y="561597"/>
                    </a:cubicBezTo>
                    <a:cubicBezTo>
                      <a:pt x="948369" y="548755"/>
                      <a:pt x="951935" y="530206"/>
                      <a:pt x="954787" y="515937"/>
                    </a:cubicBezTo>
                    <a:close/>
                    <a:moveTo>
                      <a:pt x="316828" y="352425"/>
                    </a:moveTo>
                    <a:cubicBezTo>
                      <a:pt x="483825" y="352425"/>
                      <a:pt x="553764" y="428925"/>
                      <a:pt x="545914" y="463958"/>
                    </a:cubicBezTo>
                    <a:cubicBezTo>
                      <a:pt x="542346" y="469677"/>
                      <a:pt x="538777" y="476112"/>
                      <a:pt x="535209" y="481831"/>
                    </a:cubicBezTo>
                    <a:cubicBezTo>
                      <a:pt x="529500" y="491126"/>
                      <a:pt x="523790" y="499705"/>
                      <a:pt x="517367" y="508285"/>
                    </a:cubicBezTo>
                    <a:cubicBezTo>
                      <a:pt x="401040" y="667719"/>
                      <a:pt x="179091" y="755658"/>
                      <a:pt x="179091" y="755658"/>
                    </a:cubicBezTo>
                    <a:cubicBezTo>
                      <a:pt x="139126" y="848602"/>
                      <a:pt x="270440" y="925101"/>
                      <a:pt x="258307" y="940115"/>
                    </a:cubicBezTo>
                    <a:cubicBezTo>
                      <a:pt x="255453" y="942975"/>
                      <a:pt x="242607" y="941545"/>
                      <a:pt x="222624" y="936541"/>
                    </a:cubicBezTo>
                    <a:cubicBezTo>
                      <a:pt x="214774" y="934396"/>
                      <a:pt x="205496" y="931536"/>
                      <a:pt x="195505" y="927961"/>
                    </a:cubicBezTo>
                    <a:cubicBezTo>
                      <a:pt x="94165" y="891499"/>
                      <a:pt x="-82824" y="771387"/>
                      <a:pt x="44208" y="508285"/>
                    </a:cubicBezTo>
                    <a:cubicBezTo>
                      <a:pt x="81319" y="431785"/>
                      <a:pt x="169100" y="352425"/>
                      <a:pt x="316828" y="352425"/>
                    </a:cubicBezTo>
                    <a:close/>
                    <a:moveTo>
                      <a:pt x="788695" y="0"/>
                    </a:moveTo>
                    <a:cubicBezTo>
                      <a:pt x="788695" y="0"/>
                      <a:pt x="788695" y="0"/>
                      <a:pt x="1042015" y="0"/>
                    </a:cubicBezTo>
                    <a:cubicBezTo>
                      <a:pt x="1062767" y="0"/>
                      <a:pt x="1079225" y="16458"/>
                      <a:pt x="1079225" y="37211"/>
                    </a:cubicBezTo>
                    <a:cubicBezTo>
                      <a:pt x="1079225" y="37211"/>
                      <a:pt x="1079225" y="37211"/>
                      <a:pt x="1079225" y="197503"/>
                    </a:cubicBezTo>
                    <a:cubicBezTo>
                      <a:pt x="1079225" y="218255"/>
                      <a:pt x="1062767" y="234714"/>
                      <a:pt x="1042015" y="234714"/>
                    </a:cubicBezTo>
                    <a:cubicBezTo>
                      <a:pt x="1042015" y="234714"/>
                      <a:pt x="1042015" y="234714"/>
                      <a:pt x="978327" y="234714"/>
                    </a:cubicBezTo>
                    <a:cubicBezTo>
                      <a:pt x="978327" y="234714"/>
                      <a:pt x="978327" y="234714"/>
                      <a:pt x="978327" y="320585"/>
                    </a:cubicBezTo>
                    <a:cubicBezTo>
                      <a:pt x="978327" y="320585"/>
                      <a:pt x="976180" y="327025"/>
                      <a:pt x="969740" y="327025"/>
                    </a:cubicBezTo>
                    <a:cubicBezTo>
                      <a:pt x="966877" y="327025"/>
                      <a:pt x="962584" y="325594"/>
                      <a:pt x="957575" y="320585"/>
                    </a:cubicBezTo>
                    <a:cubicBezTo>
                      <a:pt x="946841" y="309135"/>
                      <a:pt x="910346" y="266915"/>
                      <a:pt x="878144" y="234714"/>
                    </a:cubicBezTo>
                    <a:cubicBezTo>
                      <a:pt x="878144" y="234714"/>
                      <a:pt x="878144" y="234714"/>
                      <a:pt x="788695" y="234714"/>
                    </a:cubicBezTo>
                    <a:cubicBezTo>
                      <a:pt x="767943" y="234714"/>
                      <a:pt x="752200" y="218255"/>
                      <a:pt x="752200" y="197503"/>
                    </a:cubicBezTo>
                    <a:cubicBezTo>
                      <a:pt x="752200" y="197503"/>
                      <a:pt x="752200" y="197503"/>
                      <a:pt x="752200" y="196072"/>
                    </a:cubicBezTo>
                    <a:cubicBezTo>
                      <a:pt x="752200" y="190347"/>
                      <a:pt x="752200" y="163155"/>
                      <a:pt x="752200" y="37211"/>
                    </a:cubicBezTo>
                    <a:cubicBezTo>
                      <a:pt x="752200" y="21468"/>
                      <a:pt x="760787" y="9303"/>
                      <a:pt x="772952" y="3578"/>
                    </a:cubicBezTo>
                    <a:cubicBezTo>
                      <a:pt x="775099" y="2862"/>
                      <a:pt x="776530" y="2147"/>
                      <a:pt x="777962" y="1431"/>
                    </a:cubicBezTo>
                    <a:cubicBezTo>
                      <a:pt x="781539" y="715"/>
                      <a:pt x="785117" y="0"/>
                      <a:pt x="788695"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
            <p:nvSpPr>
              <p:cNvPr id="53" name="Freeform 14">
                <a:extLst>
                  <a:ext uri="{FF2B5EF4-FFF2-40B4-BE49-F238E27FC236}">
                    <a16:creationId xmlns:a16="http://schemas.microsoft.com/office/drawing/2014/main" id="{F8656F3B-6654-4DBB-B716-38B3DF0A0ADF}"/>
                  </a:ext>
                </a:extLst>
              </p:cNvPr>
              <p:cNvSpPr>
                <a:spLocks/>
              </p:cNvSpPr>
              <p:nvPr/>
            </p:nvSpPr>
            <p:spPr bwMode="auto">
              <a:xfrm>
                <a:off x="5535613" y="2882900"/>
                <a:ext cx="1314177" cy="1095375"/>
              </a:xfrm>
              <a:custGeom>
                <a:avLst/>
                <a:gdLst>
                  <a:gd name="connsiteX0" fmla="*/ 359389 w 1314177"/>
                  <a:gd name="connsiteY0" fmla="*/ 552450 h 1095375"/>
                  <a:gd name="connsiteX1" fmla="*/ 367233 w 1314177"/>
                  <a:gd name="connsiteY1" fmla="*/ 598110 h 1095375"/>
                  <a:gd name="connsiteX2" fmla="*/ 367946 w 1314177"/>
                  <a:gd name="connsiteY2" fmla="*/ 625934 h 1095375"/>
                  <a:gd name="connsiteX3" fmla="*/ 371512 w 1314177"/>
                  <a:gd name="connsiteY3" fmla="*/ 669454 h 1095375"/>
                  <a:gd name="connsiteX4" fmla="*/ 401461 w 1314177"/>
                  <a:gd name="connsiteY4" fmla="*/ 716540 h 1095375"/>
                  <a:gd name="connsiteX5" fmla="*/ 427131 w 1314177"/>
                  <a:gd name="connsiteY5" fmla="*/ 775756 h 1095375"/>
                  <a:gd name="connsiteX6" fmla="*/ 362955 w 1314177"/>
                  <a:gd name="connsiteY6" fmla="*/ 807147 h 1095375"/>
                  <a:gd name="connsiteX7" fmla="*/ 364381 w 1314177"/>
                  <a:gd name="connsiteY7" fmla="*/ 855661 h 1095375"/>
                  <a:gd name="connsiteX8" fmla="*/ 347980 w 1314177"/>
                  <a:gd name="connsiteY8" fmla="*/ 946267 h 1095375"/>
                  <a:gd name="connsiteX9" fmla="*/ 260985 w 1314177"/>
                  <a:gd name="connsiteY9" fmla="*/ 962676 h 1095375"/>
                  <a:gd name="connsiteX10" fmla="*/ 213209 w 1314177"/>
                  <a:gd name="connsiteY10" fmla="*/ 960536 h 1095375"/>
                  <a:gd name="connsiteX11" fmla="*/ 213209 w 1314177"/>
                  <a:gd name="connsiteY11" fmla="*/ 1078966 h 1095375"/>
                  <a:gd name="connsiteX12" fmla="*/ 198234 w 1314177"/>
                  <a:gd name="connsiteY12" fmla="*/ 1094662 h 1095375"/>
                  <a:gd name="connsiteX13" fmla="*/ 182547 w 1314177"/>
                  <a:gd name="connsiteY13" fmla="*/ 1095375 h 1095375"/>
                  <a:gd name="connsiteX14" fmla="*/ 7844 w 1314177"/>
                  <a:gd name="connsiteY14" fmla="*/ 1052569 h 1095375"/>
                  <a:gd name="connsiteX15" fmla="*/ 0 w 1314177"/>
                  <a:gd name="connsiteY15" fmla="*/ 1039014 h 1095375"/>
                  <a:gd name="connsiteX16" fmla="*/ 0 w 1314177"/>
                  <a:gd name="connsiteY16" fmla="*/ 996207 h 1095375"/>
                  <a:gd name="connsiteX17" fmla="*/ 31375 w 1314177"/>
                  <a:gd name="connsiteY17" fmla="*/ 1005482 h 1095375"/>
                  <a:gd name="connsiteX18" fmla="*/ 31375 w 1314177"/>
                  <a:gd name="connsiteY18" fmla="*/ 1029739 h 1095375"/>
                  <a:gd name="connsiteX19" fmla="*/ 181834 w 1314177"/>
                  <a:gd name="connsiteY19" fmla="*/ 1063984 h 1095375"/>
                  <a:gd name="connsiteX20" fmla="*/ 181834 w 1314177"/>
                  <a:gd name="connsiteY20" fmla="*/ 942700 h 1095375"/>
                  <a:gd name="connsiteX21" fmla="*/ 188964 w 1314177"/>
                  <a:gd name="connsiteY21" fmla="*/ 929858 h 1095375"/>
                  <a:gd name="connsiteX22" fmla="*/ 201087 w 1314177"/>
                  <a:gd name="connsiteY22" fmla="*/ 927718 h 1095375"/>
                  <a:gd name="connsiteX23" fmla="*/ 262411 w 1314177"/>
                  <a:gd name="connsiteY23" fmla="*/ 931285 h 1095375"/>
                  <a:gd name="connsiteX24" fmla="*/ 325875 w 1314177"/>
                  <a:gd name="connsiteY24" fmla="*/ 924150 h 1095375"/>
                  <a:gd name="connsiteX25" fmla="*/ 330153 w 1314177"/>
                  <a:gd name="connsiteY25" fmla="*/ 792165 h 1095375"/>
                  <a:gd name="connsiteX26" fmla="*/ 335145 w 1314177"/>
                  <a:gd name="connsiteY26" fmla="*/ 779323 h 1095375"/>
                  <a:gd name="connsiteX27" fmla="*/ 347980 w 1314177"/>
                  <a:gd name="connsiteY27" fmla="*/ 775042 h 1095375"/>
                  <a:gd name="connsiteX28" fmla="*/ 397182 w 1314177"/>
                  <a:gd name="connsiteY28" fmla="*/ 764341 h 1095375"/>
                  <a:gd name="connsiteX29" fmla="*/ 379355 w 1314177"/>
                  <a:gd name="connsiteY29" fmla="*/ 738657 h 1095375"/>
                  <a:gd name="connsiteX30" fmla="*/ 342276 w 1314177"/>
                  <a:gd name="connsiteY30" fmla="*/ 680869 h 1095375"/>
                  <a:gd name="connsiteX31" fmla="*/ 336571 w 1314177"/>
                  <a:gd name="connsiteY31" fmla="*/ 626648 h 1095375"/>
                  <a:gd name="connsiteX32" fmla="*/ 335858 w 1314177"/>
                  <a:gd name="connsiteY32" fmla="*/ 600250 h 1095375"/>
                  <a:gd name="connsiteX33" fmla="*/ 333719 w 1314177"/>
                  <a:gd name="connsiteY33" fmla="*/ 585982 h 1095375"/>
                  <a:gd name="connsiteX34" fmla="*/ 359389 w 1314177"/>
                  <a:gd name="connsiteY34" fmla="*/ 552450 h 1095375"/>
                  <a:gd name="connsiteX35" fmla="*/ 997350 w 1314177"/>
                  <a:gd name="connsiteY35" fmla="*/ 388938 h 1095375"/>
                  <a:gd name="connsiteX36" fmla="*/ 1269969 w 1314177"/>
                  <a:gd name="connsiteY36" fmla="*/ 544798 h 1095375"/>
                  <a:gd name="connsiteX37" fmla="*/ 1118672 w 1314177"/>
                  <a:gd name="connsiteY37" fmla="*/ 964474 h 1095375"/>
                  <a:gd name="connsiteX38" fmla="*/ 1091553 w 1314177"/>
                  <a:gd name="connsiteY38" fmla="*/ 973054 h 1095375"/>
                  <a:gd name="connsiteX39" fmla="*/ 1055870 w 1314177"/>
                  <a:gd name="connsiteY39" fmla="*/ 976628 h 1095375"/>
                  <a:gd name="connsiteX40" fmla="*/ 1135087 w 1314177"/>
                  <a:gd name="connsiteY40" fmla="*/ 792171 h 1095375"/>
                  <a:gd name="connsiteX41" fmla="*/ 796810 w 1314177"/>
                  <a:gd name="connsiteY41" fmla="*/ 544798 h 1095375"/>
                  <a:gd name="connsiteX42" fmla="*/ 778969 w 1314177"/>
                  <a:gd name="connsiteY42" fmla="*/ 518344 h 1095375"/>
                  <a:gd name="connsiteX43" fmla="*/ 768264 w 1314177"/>
                  <a:gd name="connsiteY43" fmla="*/ 500471 h 1095375"/>
                  <a:gd name="connsiteX44" fmla="*/ 997350 w 1314177"/>
                  <a:gd name="connsiteY44" fmla="*/ 388938 h 1095375"/>
                  <a:gd name="connsiteX45" fmla="*/ 297414 w 1314177"/>
                  <a:gd name="connsiteY45" fmla="*/ 0 h 1095375"/>
                  <a:gd name="connsiteX46" fmla="*/ 549729 w 1314177"/>
                  <a:gd name="connsiteY46" fmla="*/ 0 h 1095375"/>
                  <a:gd name="connsiteX47" fmla="*/ 565409 w 1314177"/>
                  <a:gd name="connsiteY47" fmla="*/ 3578 h 1095375"/>
                  <a:gd name="connsiteX48" fmla="*/ 574675 w 1314177"/>
                  <a:gd name="connsiteY48" fmla="*/ 9303 h 1095375"/>
                  <a:gd name="connsiteX49" fmla="*/ 568973 w 1314177"/>
                  <a:gd name="connsiteY49" fmla="*/ 11450 h 1095375"/>
                  <a:gd name="connsiteX50" fmla="*/ 529059 w 1314177"/>
                  <a:gd name="connsiteY50" fmla="*/ 74422 h 1095375"/>
                  <a:gd name="connsiteX51" fmla="*/ 529059 w 1314177"/>
                  <a:gd name="connsiteY51" fmla="*/ 234714 h 1095375"/>
                  <a:gd name="connsiteX52" fmla="*/ 460634 w 1314177"/>
                  <a:gd name="connsiteY52" fmla="*/ 234714 h 1095375"/>
                  <a:gd name="connsiteX53" fmla="*/ 381519 w 1314177"/>
                  <a:gd name="connsiteY53" fmla="*/ 319869 h 1095375"/>
                  <a:gd name="connsiteX54" fmla="*/ 369402 w 1314177"/>
                  <a:gd name="connsiteY54" fmla="*/ 327025 h 1095375"/>
                  <a:gd name="connsiteX55" fmla="*/ 360849 w 1314177"/>
                  <a:gd name="connsiteY55" fmla="*/ 319869 h 1095375"/>
                  <a:gd name="connsiteX56" fmla="*/ 360849 w 1314177"/>
                  <a:gd name="connsiteY56" fmla="*/ 234714 h 1095375"/>
                  <a:gd name="connsiteX57" fmla="*/ 297414 w 1314177"/>
                  <a:gd name="connsiteY57" fmla="*/ 234714 h 1095375"/>
                  <a:gd name="connsiteX58" fmla="*/ 260350 w 1314177"/>
                  <a:gd name="connsiteY58" fmla="*/ 197503 h 1095375"/>
                  <a:gd name="connsiteX59" fmla="*/ 260350 w 1314177"/>
                  <a:gd name="connsiteY59" fmla="*/ 37211 h 1095375"/>
                  <a:gd name="connsiteX60" fmla="*/ 297414 w 1314177"/>
                  <a:gd name="connsiteY60" fmla="*/ 0 h 1095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1314177" h="1095375">
                    <a:moveTo>
                      <a:pt x="359389" y="552450"/>
                    </a:moveTo>
                    <a:cubicBezTo>
                      <a:pt x="362242" y="566719"/>
                      <a:pt x="365807" y="585268"/>
                      <a:pt x="367233" y="598110"/>
                    </a:cubicBezTo>
                    <a:cubicBezTo>
                      <a:pt x="367946" y="605244"/>
                      <a:pt x="367946" y="615233"/>
                      <a:pt x="367946" y="625934"/>
                    </a:cubicBezTo>
                    <a:cubicBezTo>
                      <a:pt x="368659" y="640203"/>
                      <a:pt x="369372" y="663746"/>
                      <a:pt x="371512" y="669454"/>
                    </a:cubicBezTo>
                    <a:cubicBezTo>
                      <a:pt x="377216" y="683722"/>
                      <a:pt x="388625" y="703699"/>
                      <a:pt x="401461" y="716540"/>
                    </a:cubicBezTo>
                    <a:cubicBezTo>
                      <a:pt x="414296" y="730096"/>
                      <a:pt x="434975" y="757206"/>
                      <a:pt x="427131" y="775756"/>
                    </a:cubicBezTo>
                    <a:cubicBezTo>
                      <a:pt x="422140" y="787171"/>
                      <a:pt x="402887" y="806433"/>
                      <a:pt x="362955" y="807147"/>
                    </a:cubicBezTo>
                    <a:cubicBezTo>
                      <a:pt x="363668" y="819989"/>
                      <a:pt x="364381" y="837111"/>
                      <a:pt x="364381" y="855661"/>
                    </a:cubicBezTo>
                    <a:cubicBezTo>
                      <a:pt x="364381" y="920583"/>
                      <a:pt x="355824" y="937706"/>
                      <a:pt x="347980" y="946267"/>
                    </a:cubicBezTo>
                    <a:cubicBezTo>
                      <a:pt x="340136" y="954115"/>
                      <a:pt x="323736" y="963389"/>
                      <a:pt x="260985" y="962676"/>
                    </a:cubicBezTo>
                    <a:cubicBezTo>
                      <a:pt x="251002" y="962676"/>
                      <a:pt x="229610" y="961963"/>
                      <a:pt x="213209" y="960536"/>
                    </a:cubicBezTo>
                    <a:cubicBezTo>
                      <a:pt x="213209" y="960536"/>
                      <a:pt x="213209" y="960536"/>
                      <a:pt x="213209" y="1078966"/>
                    </a:cubicBezTo>
                    <a:cubicBezTo>
                      <a:pt x="213209" y="1087527"/>
                      <a:pt x="206791" y="1093948"/>
                      <a:pt x="198234" y="1094662"/>
                    </a:cubicBezTo>
                    <a:cubicBezTo>
                      <a:pt x="197521" y="1094662"/>
                      <a:pt x="191817" y="1095375"/>
                      <a:pt x="182547" y="1095375"/>
                    </a:cubicBezTo>
                    <a:cubicBezTo>
                      <a:pt x="149032" y="1095375"/>
                      <a:pt x="71307" y="1091095"/>
                      <a:pt x="7844" y="1052569"/>
                    </a:cubicBezTo>
                    <a:cubicBezTo>
                      <a:pt x="2852" y="1049715"/>
                      <a:pt x="0" y="1044721"/>
                      <a:pt x="0" y="1039014"/>
                    </a:cubicBezTo>
                    <a:cubicBezTo>
                      <a:pt x="0" y="1039014"/>
                      <a:pt x="0" y="1039014"/>
                      <a:pt x="0" y="996207"/>
                    </a:cubicBezTo>
                    <a:cubicBezTo>
                      <a:pt x="11409" y="1000488"/>
                      <a:pt x="22105" y="1003342"/>
                      <a:pt x="31375" y="1005482"/>
                    </a:cubicBezTo>
                    <a:cubicBezTo>
                      <a:pt x="31375" y="1005482"/>
                      <a:pt x="31375" y="1005482"/>
                      <a:pt x="31375" y="1029739"/>
                    </a:cubicBezTo>
                    <a:cubicBezTo>
                      <a:pt x="86282" y="1059703"/>
                      <a:pt x="152598" y="1063984"/>
                      <a:pt x="181834" y="1063984"/>
                    </a:cubicBezTo>
                    <a:cubicBezTo>
                      <a:pt x="181834" y="1063984"/>
                      <a:pt x="181834" y="1063984"/>
                      <a:pt x="181834" y="942700"/>
                    </a:cubicBezTo>
                    <a:cubicBezTo>
                      <a:pt x="181834" y="937706"/>
                      <a:pt x="184686" y="932712"/>
                      <a:pt x="188964" y="929858"/>
                    </a:cubicBezTo>
                    <a:cubicBezTo>
                      <a:pt x="192530" y="927718"/>
                      <a:pt x="196808" y="927004"/>
                      <a:pt x="201087" y="927718"/>
                    </a:cubicBezTo>
                    <a:cubicBezTo>
                      <a:pt x="206078" y="928431"/>
                      <a:pt x="233175" y="930571"/>
                      <a:pt x="262411" y="931285"/>
                    </a:cubicBezTo>
                    <a:cubicBezTo>
                      <a:pt x="312327" y="931285"/>
                      <a:pt x="323736" y="925577"/>
                      <a:pt x="325875" y="924150"/>
                    </a:cubicBezTo>
                    <a:cubicBezTo>
                      <a:pt x="333719" y="912735"/>
                      <a:pt x="334432" y="846386"/>
                      <a:pt x="330153" y="792165"/>
                    </a:cubicBezTo>
                    <a:cubicBezTo>
                      <a:pt x="330153" y="787171"/>
                      <a:pt x="331580" y="782890"/>
                      <a:pt x="335145" y="779323"/>
                    </a:cubicBezTo>
                    <a:cubicBezTo>
                      <a:pt x="338710" y="776469"/>
                      <a:pt x="342989" y="774329"/>
                      <a:pt x="347980" y="775042"/>
                    </a:cubicBezTo>
                    <a:cubicBezTo>
                      <a:pt x="376503" y="778609"/>
                      <a:pt x="392191" y="770048"/>
                      <a:pt x="397182" y="764341"/>
                    </a:cubicBezTo>
                    <a:cubicBezTo>
                      <a:pt x="395043" y="759347"/>
                      <a:pt x="389339" y="749359"/>
                      <a:pt x="379355" y="738657"/>
                    </a:cubicBezTo>
                    <a:cubicBezTo>
                      <a:pt x="358676" y="718681"/>
                      <a:pt x="345841" y="689430"/>
                      <a:pt x="342276" y="680869"/>
                    </a:cubicBezTo>
                    <a:cubicBezTo>
                      <a:pt x="337997" y="670881"/>
                      <a:pt x="337284" y="653758"/>
                      <a:pt x="336571" y="626648"/>
                    </a:cubicBezTo>
                    <a:cubicBezTo>
                      <a:pt x="336571" y="616659"/>
                      <a:pt x="336571" y="607385"/>
                      <a:pt x="335858" y="600250"/>
                    </a:cubicBezTo>
                    <a:cubicBezTo>
                      <a:pt x="335145" y="596683"/>
                      <a:pt x="334432" y="591689"/>
                      <a:pt x="333719" y="585982"/>
                    </a:cubicBezTo>
                    <a:cubicBezTo>
                      <a:pt x="342989" y="575280"/>
                      <a:pt x="351546" y="563865"/>
                      <a:pt x="359389" y="552450"/>
                    </a:cubicBezTo>
                    <a:close/>
                    <a:moveTo>
                      <a:pt x="997350" y="388938"/>
                    </a:moveTo>
                    <a:cubicBezTo>
                      <a:pt x="1145078" y="388938"/>
                      <a:pt x="1232859" y="468298"/>
                      <a:pt x="1269969" y="544798"/>
                    </a:cubicBezTo>
                    <a:cubicBezTo>
                      <a:pt x="1397001" y="807900"/>
                      <a:pt x="1220013" y="928012"/>
                      <a:pt x="1118672" y="964474"/>
                    </a:cubicBezTo>
                    <a:cubicBezTo>
                      <a:pt x="1108681" y="968049"/>
                      <a:pt x="1099403" y="970909"/>
                      <a:pt x="1091553" y="973054"/>
                    </a:cubicBezTo>
                    <a:cubicBezTo>
                      <a:pt x="1071571" y="978058"/>
                      <a:pt x="1058725" y="979488"/>
                      <a:pt x="1055870" y="976628"/>
                    </a:cubicBezTo>
                    <a:cubicBezTo>
                      <a:pt x="1043738" y="961614"/>
                      <a:pt x="1175052" y="885115"/>
                      <a:pt x="1135087" y="792171"/>
                    </a:cubicBezTo>
                    <a:cubicBezTo>
                      <a:pt x="1135087" y="792171"/>
                      <a:pt x="913137" y="704232"/>
                      <a:pt x="796810" y="544798"/>
                    </a:cubicBezTo>
                    <a:cubicBezTo>
                      <a:pt x="790387" y="536218"/>
                      <a:pt x="784678" y="527639"/>
                      <a:pt x="778969" y="518344"/>
                    </a:cubicBezTo>
                    <a:cubicBezTo>
                      <a:pt x="775400" y="512625"/>
                      <a:pt x="771832" y="506190"/>
                      <a:pt x="768264" y="500471"/>
                    </a:cubicBezTo>
                    <a:cubicBezTo>
                      <a:pt x="760413" y="465438"/>
                      <a:pt x="830352" y="388938"/>
                      <a:pt x="997350" y="388938"/>
                    </a:cubicBezTo>
                    <a:close/>
                    <a:moveTo>
                      <a:pt x="297414" y="0"/>
                    </a:moveTo>
                    <a:cubicBezTo>
                      <a:pt x="549729" y="0"/>
                      <a:pt x="549729" y="0"/>
                      <a:pt x="549729" y="0"/>
                    </a:cubicBezTo>
                    <a:cubicBezTo>
                      <a:pt x="555431" y="0"/>
                      <a:pt x="560420" y="1431"/>
                      <a:pt x="565409" y="3578"/>
                    </a:cubicBezTo>
                    <a:cubicBezTo>
                      <a:pt x="568260" y="5009"/>
                      <a:pt x="571824" y="7156"/>
                      <a:pt x="574675" y="9303"/>
                    </a:cubicBezTo>
                    <a:cubicBezTo>
                      <a:pt x="572537" y="10018"/>
                      <a:pt x="570399" y="10734"/>
                      <a:pt x="568973" y="11450"/>
                    </a:cubicBezTo>
                    <a:cubicBezTo>
                      <a:pt x="544027" y="22183"/>
                      <a:pt x="529059" y="46514"/>
                      <a:pt x="529059" y="74422"/>
                    </a:cubicBezTo>
                    <a:cubicBezTo>
                      <a:pt x="529059" y="74422"/>
                      <a:pt x="529059" y="74422"/>
                      <a:pt x="529059" y="234714"/>
                    </a:cubicBezTo>
                    <a:cubicBezTo>
                      <a:pt x="460634" y="234714"/>
                      <a:pt x="460634" y="234714"/>
                      <a:pt x="460634" y="234714"/>
                    </a:cubicBezTo>
                    <a:cubicBezTo>
                      <a:pt x="428560" y="266916"/>
                      <a:pt x="392210" y="309135"/>
                      <a:pt x="381519" y="319869"/>
                    </a:cubicBezTo>
                    <a:cubicBezTo>
                      <a:pt x="376529" y="324878"/>
                      <a:pt x="372253" y="327025"/>
                      <a:pt x="369402" y="327025"/>
                    </a:cubicBezTo>
                    <a:cubicBezTo>
                      <a:pt x="362987" y="327025"/>
                      <a:pt x="360849" y="319869"/>
                      <a:pt x="360849" y="319869"/>
                    </a:cubicBezTo>
                    <a:cubicBezTo>
                      <a:pt x="360849" y="234714"/>
                      <a:pt x="360849" y="234714"/>
                      <a:pt x="360849" y="234714"/>
                    </a:cubicBezTo>
                    <a:cubicBezTo>
                      <a:pt x="297414" y="234714"/>
                      <a:pt x="297414" y="234714"/>
                      <a:pt x="297414" y="234714"/>
                    </a:cubicBezTo>
                    <a:cubicBezTo>
                      <a:pt x="276744" y="234714"/>
                      <a:pt x="260350" y="218255"/>
                      <a:pt x="260350" y="197503"/>
                    </a:cubicBezTo>
                    <a:cubicBezTo>
                      <a:pt x="260350" y="37211"/>
                      <a:pt x="260350" y="37211"/>
                      <a:pt x="260350" y="37211"/>
                    </a:cubicBezTo>
                    <a:cubicBezTo>
                      <a:pt x="260350" y="16459"/>
                      <a:pt x="276744" y="0"/>
                      <a:pt x="297414"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grpSp>
      <p:grpSp>
        <p:nvGrpSpPr>
          <p:cNvPr id="8" name="Group 7">
            <a:extLst>
              <a:ext uri="{FF2B5EF4-FFF2-40B4-BE49-F238E27FC236}">
                <a16:creationId xmlns:a16="http://schemas.microsoft.com/office/drawing/2014/main" id="{8745ACB4-8FF3-4EE0-94B4-FB9BF6B11016}"/>
              </a:ext>
            </a:extLst>
          </p:cNvPr>
          <p:cNvGrpSpPr/>
          <p:nvPr/>
        </p:nvGrpSpPr>
        <p:grpSpPr>
          <a:xfrm>
            <a:off x="5777139" y="3429000"/>
            <a:ext cx="5814855" cy="1912753"/>
            <a:chOff x="5777877" y="4293927"/>
            <a:chExt cx="5814855" cy="1912753"/>
          </a:xfrm>
        </p:grpSpPr>
        <p:sp>
          <p:nvSpPr>
            <p:cNvPr id="31" name="Content Placeholder 3">
              <a:extLst>
                <a:ext uri="{FF2B5EF4-FFF2-40B4-BE49-F238E27FC236}">
                  <a16:creationId xmlns:a16="http://schemas.microsoft.com/office/drawing/2014/main" id="{0615A93C-74B6-46E0-9291-50D824B043B4}"/>
                </a:ext>
              </a:extLst>
            </p:cNvPr>
            <p:cNvSpPr txBox="1">
              <a:spLocks/>
            </p:cNvSpPr>
            <p:nvPr/>
          </p:nvSpPr>
          <p:spPr>
            <a:xfrm>
              <a:off x="5777877" y="4709676"/>
              <a:ext cx="5814855" cy="1497004"/>
            </a:xfrm>
            <a:prstGeom prst="rect">
              <a:avLst/>
            </a:prstGeom>
          </p:spPr>
          <p:txBody>
            <a:bodyPr wrap="square" lIns="0" tIns="0" rIns="0" bIns="0" numCol="2">
              <a:noAutofit/>
            </a:bodyPr>
            <a:lstStyle/>
            <a:p>
              <a:pPr marL="324000" lvl="1" indent="-216000">
                <a:buClr>
                  <a:schemeClr val="tx2">
                    <a:lumMod val="100000"/>
                  </a:schemeClr>
                </a:buClr>
                <a:buSzPct val="100000"/>
                <a:buFont typeface="Trebuchet MS" panose="020B0603020202020204" pitchFamily="34" charset="0"/>
                <a:buChar char="•"/>
              </a:pPr>
              <a:r>
                <a:rPr lang="en-US" sz="1600" dirty="0">
                  <a:solidFill>
                    <a:schemeClr val="tx1">
                      <a:lumMod val="100000"/>
                    </a:schemeClr>
                  </a:solidFill>
                  <a:latin typeface="Trebuchet MS" panose="020B0603020202020204" pitchFamily="34" charset="0"/>
                </a:rPr>
                <a:t>Working capital: $67M</a:t>
              </a:r>
            </a:p>
            <a:p>
              <a:pPr marL="324000" lvl="1" indent="-216000">
                <a:buClr>
                  <a:schemeClr val="tx2">
                    <a:lumMod val="100000"/>
                  </a:schemeClr>
                </a:buClr>
                <a:buSzPct val="100000"/>
                <a:buFont typeface="Trebuchet MS" panose="020B0603020202020204" pitchFamily="34" charset="0"/>
                <a:buChar char="•"/>
              </a:pPr>
              <a:r>
                <a:rPr lang="en-US" sz="1600" dirty="0">
                  <a:solidFill>
                    <a:schemeClr val="tx1">
                      <a:lumMod val="100000"/>
                    </a:schemeClr>
                  </a:solidFill>
                  <a:latin typeface="Trebuchet MS" panose="020B0603020202020204" pitchFamily="34" charset="0"/>
                </a:rPr>
                <a:t>Debt-to-equity: 1.8x</a:t>
              </a:r>
            </a:p>
            <a:p>
              <a:pPr marL="324000" lvl="1" indent="-216000">
                <a:buClr>
                  <a:schemeClr val="tx2">
                    <a:lumMod val="100000"/>
                  </a:schemeClr>
                </a:buClr>
                <a:buSzPct val="100000"/>
                <a:buFont typeface="Trebuchet MS" panose="020B0603020202020204" pitchFamily="34" charset="0"/>
                <a:buChar char="•"/>
              </a:pPr>
              <a:r>
                <a:rPr lang="en-US" sz="1600" dirty="0">
                  <a:solidFill>
                    <a:schemeClr val="tx1">
                      <a:lumMod val="100000"/>
                    </a:schemeClr>
                  </a:solidFill>
                  <a:latin typeface="Trebuchet MS" panose="020B0603020202020204" pitchFamily="34" charset="0"/>
                </a:rPr>
                <a:t>Return on assets: 8.2%</a:t>
              </a:r>
              <a:endParaRPr lang="en-US" sz="1600" i="1" dirty="0">
                <a:solidFill>
                  <a:schemeClr val="tx1">
                    <a:lumMod val="100000"/>
                  </a:schemeClr>
                </a:solidFill>
              </a:endParaRPr>
            </a:p>
          </p:txBody>
        </p:sp>
        <p:sp>
          <p:nvSpPr>
            <p:cNvPr id="5" name="Rectangle 4">
              <a:extLst>
                <a:ext uri="{FF2B5EF4-FFF2-40B4-BE49-F238E27FC236}">
                  <a16:creationId xmlns:a16="http://schemas.microsoft.com/office/drawing/2014/main" id="{3045018F-8EFD-40DA-BA99-FD5FD2813BEB}"/>
                </a:ext>
              </a:extLst>
            </p:cNvPr>
            <p:cNvSpPr/>
            <p:nvPr/>
          </p:nvSpPr>
          <p:spPr>
            <a:xfrm>
              <a:off x="5777877" y="4293927"/>
              <a:ext cx="5814855" cy="338554"/>
            </a:xfrm>
            <a:prstGeom prst="rect">
              <a:avLst/>
            </a:prstGeom>
          </p:spPr>
          <p:txBody>
            <a:bodyPr wrap="square">
              <a:spAutoFit/>
            </a:bodyPr>
            <a:lstStyle/>
            <a:p>
              <a:pPr>
                <a:buSzPct val="100000"/>
                <a:buFont typeface="Trebuchet MS" panose="020B0603020202020204" pitchFamily="34" charset="0"/>
                <a:buChar char="​"/>
              </a:pPr>
              <a:r>
                <a:rPr lang="en-US" sz="1600" b="1" dirty="0">
                  <a:solidFill>
                    <a:schemeClr val="tx2"/>
                  </a:solidFill>
                  <a:sym typeface="Trebuchet MS"/>
                </a:rPr>
                <a:t>Key Metrics: </a:t>
              </a:r>
            </a:p>
          </p:txBody>
        </p:sp>
      </p:grpSp>
      <p:grpSp>
        <p:nvGrpSpPr>
          <p:cNvPr id="7" name="Group 6">
            <a:extLst>
              <a:ext uri="{FF2B5EF4-FFF2-40B4-BE49-F238E27FC236}">
                <a16:creationId xmlns:a16="http://schemas.microsoft.com/office/drawing/2014/main" id="{F417AE85-455D-47EB-9430-D339A9E172FB}"/>
              </a:ext>
            </a:extLst>
          </p:cNvPr>
          <p:cNvGrpSpPr/>
          <p:nvPr/>
        </p:nvGrpSpPr>
        <p:grpSpPr>
          <a:xfrm>
            <a:off x="5777877" y="2046665"/>
            <a:ext cx="5814855" cy="1092909"/>
            <a:chOff x="5777877" y="1952536"/>
            <a:chExt cx="5814855" cy="1092909"/>
          </a:xfrm>
        </p:grpSpPr>
        <p:sp>
          <p:nvSpPr>
            <p:cNvPr id="11" name="Content Placeholder 3"/>
            <p:cNvSpPr txBox="1">
              <a:spLocks/>
            </p:cNvSpPr>
            <p:nvPr/>
          </p:nvSpPr>
          <p:spPr>
            <a:xfrm>
              <a:off x="5777877" y="2306781"/>
              <a:ext cx="5814855" cy="738664"/>
            </a:xfrm>
            <a:prstGeom prst="rect">
              <a:avLst/>
            </a:prstGeom>
          </p:spPr>
          <p:txBody>
            <a:bodyPr wrap="square" lIns="0" tIns="0" rIns="0" bIns="0">
              <a:spAutoFit/>
            </a:bodyPr>
            <a:lstStyle/>
            <a:p>
              <a:pPr marL="324000" lvl="1" indent="-216000">
                <a:buClr>
                  <a:schemeClr val="tx2">
                    <a:lumMod val="100000"/>
                  </a:schemeClr>
                </a:buClr>
                <a:buSzPct val="100000"/>
                <a:buFont typeface="Trebuchet MS" panose="020B0603020202020204" pitchFamily="34" charset="0"/>
                <a:buChar char="•"/>
              </a:pPr>
              <a:r>
                <a:rPr lang="en-US" sz="1600" dirty="0">
                  <a:solidFill>
                    <a:schemeClr val="tx1">
                      <a:lumMod val="100000"/>
                    </a:schemeClr>
                  </a:solidFill>
                  <a:latin typeface="Trebuchet MS" panose="020B0603020202020204" pitchFamily="34" charset="0"/>
                </a:rPr>
                <a:t>The company's EBITDA margin declined from 22% to 16% due to rising labor costs ($45/hour average) and supply chain disruptions affecting their Maui distribution center.</a:t>
              </a:r>
            </a:p>
          </p:txBody>
        </p:sp>
        <p:sp>
          <p:nvSpPr>
            <p:cNvPr id="45" name="Rectangle 44">
              <a:extLst>
                <a:ext uri="{FF2B5EF4-FFF2-40B4-BE49-F238E27FC236}">
                  <a16:creationId xmlns:a16="http://schemas.microsoft.com/office/drawing/2014/main" id="{84303A26-B4C7-42B6-BC0B-211FB37B4643}"/>
                </a:ext>
              </a:extLst>
            </p:cNvPr>
            <p:cNvSpPr/>
            <p:nvPr/>
          </p:nvSpPr>
          <p:spPr>
            <a:xfrm>
              <a:off x="5777877" y="1952536"/>
              <a:ext cx="5814855" cy="338554"/>
            </a:xfrm>
            <a:prstGeom prst="rect">
              <a:avLst/>
            </a:prstGeom>
          </p:spPr>
          <p:txBody>
            <a:bodyPr wrap="square">
              <a:spAutoFit/>
            </a:bodyPr>
            <a:lstStyle/>
            <a:p>
              <a:pPr>
                <a:buSzPct val="100000"/>
                <a:buFont typeface="Trebuchet MS" panose="020B0603020202020204" pitchFamily="34" charset="0"/>
                <a:buChar char="​"/>
              </a:pPr>
              <a:r>
                <a:rPr lang="en-US" sz="1600" b="1" dirty="0">
                  <a:solidFill>
                    <a:schemeClr val="tx2"/>
                  </a:solidFill>
                  <a:sym typeface="Trebuchet MS"/>
                </a:rPr>
                <a:t>Operating Margins:</a:t>
              </a:r>
            </a:p>
          </p:txBody>
        </p:sp>
      </p:grpSp>
      <p:grpSp>
        <p:nvGrpSpPr>
          <p:cNvPr id="6" name="Group 5">
            <a:extLst>
              <a:ext uri="{FF2B5EF4-FFF2-40B4-BE49-F238E27FC236}">
                <a16:creationId xmlns:a16="http://schemas.microsoft.com/office/drawing/2014/main" id="{670DB100-51E2-47D0-A094-AED48A62911F}"/>
              </a:ext>
            </a:extLst>
          </p:cNvPr>
          <p:cNvGrpSpPr/>
          <p:nvPr/>
        </p:nvGrpSpPr>
        <p:grpSpPr>
          <a:xfrm>
            <a:off x="5777877" y="714795"/>
            <a:ext cx="5814855" cy="1084687"/>
            <a:chOff x="5777877" y="310741"/>
            <a:chExt cx="5814855" cy="1084687"/>
          </a:xfrm>
        </p:grpSpPr>
        <p:sp>
          <p:nvSpPr>
            <p:cNvPr id="10" name="Content Placeholder 3"/>
            <p:cNvSpPr txBox="1">
              <a:spLocks/>
            </p:cNvSpPr>
            <p:nvPr/>
          </p:nvSpPr>
          <p:spPr>
            <a:xfrm>
              <a:off x="5777877" y="656764"/>
              <a:ext cx="5814855" cy="738664"/>
            </a:xfrm>
            <a:prstGeom prst="rect">
              <a:avLst/>
            </a:prstGeom>
          </p:spPr>
          <p:txBody>
            <a:bodyPr wrap="square" lIns="0" tIns="0" rIns="0" bIns="0">
              <a:spAutoFit/>
            </a:bodyPr>
            <a:lstStyle/>
            <a:p>
              <a:pPr marL="324000" lvl="1" indent="-216000">
                <a:buClr>
                  <a:schemeClr val="tx2">
                    <a:lumMod val="100000"/>
                  </a:schemeClr>
                </a:buClr>
                <a:buSzPct val="100000"/>
                <a:buFont typeface="Trebuchet MS" panose="020B0603020202020204" pitchFamily="34" charset="0"/>
                <a:buChar char="•"/>
              </a:pPr>
              <a:r>
                <a:rPr lang="en-US" sz="1600" dirty="0">
                  <a:solidFill>
                    <a:schemeClr val="tx1">
                      <a:lumMod val="100000"/>
                    </a:schemeClr>
                  </a:solidFill>
                  <a:latin typeface="Trebuchet MS" panose="020B0603020202020204" pitchFamily="34" charset="0"/>
                </a:rPr>
                <a:t>2021: $198M</a:t>
              </a:r>
            </a:p>
            <a:p>
              <a:pPr marL="324000" lvl="1" indent="-216000">
                <a:buClr>
                  <a:schemeClr val="tx2">
                    <a:lumMod val="100000"/>
                  </a:schemeClr>
                </a:buClr>
                <a:buSzPct val="100000"/>
                <a:buFont typeface="Trebuchet MS" panose="020B0603020202020204" pitchFamily="34" charset="0"/>
                <a:buChar char="•"/>
              </a:pPr>
              <a:r>
                <a:rPr lang="en-US" sz="1600" dirty="0">
                  <a:solidFill>
                    <a:schemeClr val="tx1">
                      <a:lumMod val="100000"/>
                    </a:schemeClr>
                  </a:solidFill>
                  <a:latin typeface="Trebuchet MS" panose="020B0603020202020204" pitchFamily="34" charset="0"/>
                </a:rPr>
                <a:t>2022: $223M  </a:t>
              </a:r>
            </a:p>
            <a:p>
              <a:pPr marL="324000" lvl="1" indent="-216000">
                <a:buClr>
                  <a:schemeClr val="tx2">
                    <a:lumMod val="100000"/>
                  </a:schemeClr>
                </a:buClr>
                <a:buSzPct val="100000"/>
                <a:buFont typeface="Trebuchet MS" panose="020B0603020202020204" pitchFamily="34" charset="0"/>
                <a:buChar char="•"/>
              </a:pPr>
              <a:r>
                <a:rPr lang="en-US" sz="1600" dirty="0">
                  <a:solidFill>
                    <a:schemeClr val="tx1">
                      <a:lumMod val="100000"/>
                    </a:schemeClr>
                  </a:solidFill>
                  <a:latin typeface="Trebuchet MS" panose="020B0603020202020204" pitchFamily="34" charset="0"/>
                </a:rPr>
                <a:t>2023: $247M</a:t>
              </a:r>
            </a:p>
          </p:txBody>
        </p:sp>
        <p:sp>
          <p:nvSpPr>
            <p:cNvPr id="46" name="Rectangle 45">
              <a:extLst>
                <a:ext uri="{FF2B5EF4-FFF2-40B4-BE49-F238E27FC236}">
                  <a16:creationId xmlns:a16="http://schemas.microsoft.com/office/drawing/2014/main" id="{DCA9227E-3000-4D1A-B99E-E2CD1C217C73}"/>
                </a:ext>
              </a:extLst>
            </p:cNvPr>
            <p:cNvSpPr/>
            <p:nvPr/>
          </p:nvSpPr>
          <p:spPr>
            <a:xfrm>
              <a:off x="5777877" y="310741"/>
              <a:ext cx="5814855" cy="338554"/>
            </a:xfrm>
            <a:prstGeom prst="rect">
              <a:avLst/>
            </a:prstGeom>
          </p:spPr>
          <p:txBody>
            <a:bodyPr wrap="square">
              <a:spAutoFit/>
            </a:bodyPr>
            <a:lstStyle/>
            <a:p>
              <a:pPr>
                <a:buSzPct val="100000"/>
                <a:buFont typeface="Trebuchet MS" panose="020B0603020202020204" pitchFamily="34" charset="0"/>
                <a:buChar char="​"/>
              </a:pPr>
              <a:r>
                <a:rPr lang="en-US" sz="1600" b="1" dirty="0">
                  <a:solidFill>
                    <a:schemeClr val="tx2"/>
                  </a:solidFill>
                  <a:sym typeface="Trebuchet MS"/>
                </a:rPr>
                <a:t>Revenue Growth:</a:t>
              </a:r>
            </a:p>
          </p:txBody>
        </p:sp>
      </p:grpSp>
    </p:spTree>
    <p:custDataLst>
      <p:tags r:id="rId1"/>
    </p:custDataLst>
    <p:extLst>
      <p:ext uri="{BB962C8B-B14F-4D97-AF65-F5344CB8AC3E}">
        <p14:creationId xmlns:p14="http://schemas.microsoft.com/office/powerpoint/2010/main" val="26044761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52DCDC0-0637-4012-A6A0-9B4C7183EFC0}"/>
              </a:ext>
            </a:extLst>
          </p:cNvPr>
          <p:cNvGraphicFramePr>
            <a:graphicFrameLocks noChangeAspect="1"/>
          </p:cNvGraphicFramePr>
          <p:nvPr>
            <p:custDataLst>
              <p:tags r:id="rId2"/>
            </p:custDataLst>
            <p:extLst>
              <p:ext uri="{D42A27DB-BD31-4B8C-83A1-F6EECF244321}">
                <p14:modId xmlns:p14="http://schemas.microsoft.com/office/powerpoint/2010/main" val="42927405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622" imgH="623" progId="TCLayout.ActiveDocument.1">
                  <p:embed/>
                </p:oleObj>
              </mc:Choice>
              <mc:Fallback>
                <p:oleObj name="think-cell Slide" r:id="rId6" imgW="622" imgH="623" progId="TCLayout.ActiveDocument.1">
                  <p:embed/>
                  <p:pic>
                    <p:nvPicPr>
                      <p:cNvPr id="4" name="Object 3" hidden="1">
                        <a:extLst>
                          <a:ext uri="{FF2B5EF4-FFF2-40B4-BE49-F238E27FC236}">
                            <a16:creationId xmlns:a16="http://schemas.microsoft.com/office/drawing/2014/main" id="{852DCDC0-0637-4012-A6A0-9B4C7183EFC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80F1A15-6A69-440C-953D-4CC9ADDE84E9}"/>
              </a:ext>
            </a:extLst>
          </p:cNvPr>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a:xfrm>
            <a:off x="630000" y="622800"/>
            <a:ext cx="10933350" cy="332399"/>
          </a:xfrm>
        </p:spPr>
        <p:txBody>
          <a:bodyPr/>
          <a:lstStyle/>
          <a:p>
            <a:r>
              <a:rPr lang="en-US" dirty="0"/>
              <a:t>Implementation Roadmap</a:t>
            </a:r>
          </a:p>
        </p:txBody>
      </p:sp>
      <p:sp>
        <p:nvSpPr>
          <p:cNvPr id="5" name="Rectangle 4">
            <a:extLst>
              <a:ext uri="{FF2B5EF4-FFF2-40B4-BE49-F238E27FC236}">
                <a16:creationId xmlns:a16="http://schemas.microsoft.com/office/drawing/2014/main" id="{7267198A-C048-4EF7-83DE-C678AD0646BF}"/>
              </a:ext>
            </a:extLst>
          </p:cNvPr>
          <p:cNvSpPr/>
          <p:nvPr/>
        </p:nvSpPr>
        <p:spPr>
          <a:xfrm>
            <a:off x="545508" y="1351314"/>
            <a:ext cx="11017842" cy="421973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1400" dirty="0">
              <a:solidFill>
                <a:schemeClr val="tx1">
                  <a:lumMod val="100000"/>
                </a:schemeClr>
              </a:solidFill>
            </a:endParaRPr>
          </a:p>
        </p:txBody>
      </p:sp>
      <p:sp>
        <p:nvSpPr>
          <p:cNvPr id="6" name="TextBox 5">
            <a:extLst>
              <a:ext uri="{FF2B5EF4-FFF2-40B4-BE49-F238E27FC236}">
                <a16:creationId xmlns:a16="http://schemas.microsoft.com/office/drawing/2014/main" id="{2F933D4B-52ED-BDF2-8252-C96B746B0377}"/>
              </a:ext>
            </a:extLst>
          </p:cNvPr>
          <p:cNvSpPr txBox="1"/>
          <p:nvPr/>
        </p:nvSpPr>
        <p:spPr>
          <a:xfrm>
            <a:off x="12059920" y="4541520"/>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US" dirty="0" err="1">
              <a:solidFill>
                <a:srgbClr val="575757"/>
              </a:solidFill>
            </a:endParaRPr>
          </a:p>
        </p:txBody>
      </p:sp>
      <p:sp>
        <p:nvSpPr>
          <p:cNvPr id="7" name="TextBox 6">
            <a:extLst>
              <a:ext uri="{FF2B5EF4-FFF2-40B4-BE49-F238E27FC236}">
                <a16:creationId xmlns:a16="http://schemas.microsoft.com/office/drawing/2014/main" id="{67EE85BD-750A-3816-7DDE-20F3CD1FD06E}"/>
              </a:ext>
            </a:extLst>
          </p:cNvPr>
          <p:cNvSpPr txBox="1"/>
          <p:nvPr/>
        </p:nvSpPr>
        <p:spPr>
          <a:xfrm>
            <a:off x="628650" y="1219942"/>
            <a:ext cx="9123600" cy="441811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dirty="0">
                <a:solidFill>
                  <a:srgbClr val="575757"/>
                </a:solidFill>
              </a:rPr>
              <a:t>Phase 1 (Months 1-3): Assessment</a:t>
            </a:r>
          </a:p>
          <a:p>
            <a:r>
              <a:rPr lang="en-US" dirty="0">
                <a:solidFill>
                  <a:srgbClr val="575757"/>
                </a:solidFill>
              </a:rPr>
              <a:t>1. Process mapping and benchmarking</a:t>
            </a:r>
          </a:p>
          <a:p>
            <a:r>
              <a:rPr lang="en-US" dirty="0">
                <a:solidFill>
                  <a:srgbClr val="575757"/>
                </a:solidFill>
              </a:rPr>
              <a:t>2. Technology stack evaluation  </a:t>
            </a:r>
          </a:p>
          <a:p>
            <a:r>
              <a:rPr lang="en-US" dirty="0">
                <a:solidFill>
                  <a:srgbClr val="575757"/>
                </a:solidFill>
              </a:rPr>
              <a:t>3. Workforce skill gap analysis</a:t>
            </a:r>
          </a:p>
          <a:p>
            <a:endParaRPr lang="en-US" dirty="0">
              <a:solidFill>
                <a:srgbClr val="575757"/>
              </a:solidFill>
            </a:endParaRPr>
          </a:p>
          <a:p>
            <a:r>
              <a:rPr lang="en-US" dirty="0">
                <a:solidFill>
                  <a:srgbClr val="575757"/>
                </a:solidFill>
              </a:rPr>
              <a:t>Phase 2 (Months 4-8): Pilot Programs</a:t>
            </a:r>
          </a:p>
          <a:p>
            <a:r>
              <a:rPr lang="en-US" dirty="0">
                <a:solidFill>
                  <a:srgbClr val="575757"/>
                </a:solidFill>
              </a:rPr>
              <a:t>Implementation at Kona facility (450 employees) targeting 15% efficiency gains</a:t>
            </a:r>
          </a:p>
          <a:p>
            <a:endParaRPr lang="en-US" dirty="0">
              <a:solidFill>
                <a:srgbClr val="575757"/>
              </a:solidFill>
            </a:endParaRPr>
          </a:p>
          <a:p>
            <a:r>
              <a:rPr lang="en-US" dirty="0">
                <a:solidFill>
                  <a:srgbClr val="575757"/>
                </a:solidFill>
              </a:rPr>
              <a:t>Phase 3 (Months 9-12): Scale</a:t>
            </a:r>
          </a:p>
          <a:p>
            <a:r>
              <a:rPr lang="en-US" dirty="0">
                <a:solidFill>
                  <a:srgbClr val="575757"/>
                </a:solidFill>
              </a:rPr>
              <a:t>Rollout savings target: $12-15M annually</a:t>
            </a:r>
          </a:p>
          <a:p>
            <a:endParaRPr lang="en-US" dirty="0">
              <a:solidFill>
                <a:srgbClr val="575757"/>
              </a:solidFill>
            </a:endParaRPr>
          </a:p>
          <a:p>
            <a:r>
              <a:rPr lang="en-US" dirty="0">
                <a:solidFill>
                  <a:srgbClr val="575757"/>
                </a:solidFill>
              </a:rPr>
              <a:t>Project Budget: $3.2M</a:t>
            </a:r>
          </a:p>
          <a:p>
            <a:r>
              <a:rPr lang="en-US" dirty="0">
                <a:solidFill>
                  <a:srgbClr val="575757"/>
                </a:solidFill>
              </a:rPr>
              <a:t>Expected ROI: 4.2x</a:t>
            </a:r>
          </a:p>
        </p:txBody>
      </p:sp>
    </p:spTree>
    <p:custDataLst>
      <p:tags r:id="rId1"/>
    </p:custDataLst>
    <p:extLst>
      <p:ext uri="{BB962C8B-B14F-4D97-AF65-F5344CB8AC3E}">
        <p14:creationId xmlns:p14="http://schemas.microsoft.com/office/powerpoint/2010/main" val="27750040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52DCDC0-0637-4012-A6A0-9B4C7183EFC0}"/>
              </a:ext>
            </a:extLst>
          </p:cNvPr>
          <p:cNvGraphicFramePr>
            <a:graphicFrameLocks noChangeAspect="1"/>
          </p:cNvGraphicFramePr>
          <p:nvPr>
            <p:custDataLst>
              <p:tags r:id="rId2"/>
            </p:custDataLst>
            <p:extLst>
              <p:ext uri="{D42A27DB-BD31-4B8C-83A1-F6EECF244321}">
                <p14:modId xmlns:p14="http://schemas.microsoft.com/office/powerpoint/2010/main" val="11575024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622" imgH="623" progId="TCLayout.ActiveDocument.1">
                  <p:embed/>
                </p:oleObj>
              </mc:Choice>
              <mc:Fallback>
                <p:oleObj name="think-cell Slide" r:id="rId6" imgW="622" imgH="623" progId="TCLayout.ActiveDocument.1">
                  <p:embed/>
                  <p:pic>
                    <p:nvPicPr>
                      <p:cNvPr id="4" name="Object 3" hidden="1">
                        <a:extLst>
                          <a:ext uri="{FF2B5EF4-FFF2-40B4-BE49-F238E27FC236}">
                            <a16:creationId xmlns:a16="http://schemas.microsoft.com/office/drawing/2014/main" id="{852DCDC0-0637-4012-A6A0-9B4C7183EFC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80F1A15-6A69-440C-953D-4CC9ADDE84E9}"/>
              </a:ext>
            </a:extLst>
          </p:cNvPr>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a:xfrm>
            <a:off x="630000" y="622800"/>
            <a:ext cx="10933350" cy="332399"/>
          </a:xfrm>
        </p:spPr>
        <p:txBody>
          <a:bodyPr/>
          <a:lstStyle/>
          <a:p>
            <a:r>
              <a:rPr lang="en-US" dirty="0"/>
              <a:t>Next Steps</a:t>
            </a:r>
          </a:p>
        </p:txBody>
      </p:sp>
      <p:sp>
        <p:nvSpPr>
          <p:cNvPr id="5" name="Rectangle 4">
            <a:extLst>
              <a:ext uri="{FF2B5EF4-FFF2-40B4-BE49-F238E27FC236}">
                <a16:creationId xmlns:a16="http://schemas.microsoft.com/office/drawing/2014/main" id="{7267198A-C048-4EF7-83DE-C678AD0646BF}"/>
              </a:ext>
            </a:extLst>
          </p:cNvPr>
          <p:cNvSpPr/>
          <p:nvPr/>
        </p:nvSpPr>
        <p:spPr>
          <a:xfrm>
            <a:off x="630149" y="1116249"/>
            <a:ext cx="10933201" cy="4199138"/>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2000" dirty="0">
                <a:solidFill>
                  <a:srgbClr val="575757"/>
                </a:solidFill>
              </a:rPr>
              <a:t>Immediate Actions:</a:t>
            </a:r>
          </a:p>
          <a:p>
            <a:r>
              <a:rPr lang="en-US" sz="2000" dirty="0">
                <a:solidFill>
                  <a:srgbClr val="575757"/>
                </a:solidFill>
              </a:rPr>
              <a:t>• Approve $3.2M engagement budget by Dec 15, 2024</a:t>
            </a:r>
          </a:p>
          <a:p>
            <a:r>
              <a:rPr lang="en-US" sz="2000" dirty="0">
                <a:solidFill>
                  <a:srgbClr val="575757"/>
                </a:solidFill>
              </a:rPr>
              <a:t>• Assign Lisa Wong as primary contact and project lead</a:t>
            </a:r>
          </a:p>
          <a:p>
            <a:r>
              <a:rPr lang="en-US" sz="2000" dirty="0">
                <a:solidFill>
                  <a:srgbClr val="575757"/>
                </a:solidFill>
              </a:rPr>
              <a:t>• Schedule kickoff meeting at Gripe headquarters (Jan 8, 2025)</a:t>
            </a:r>
          </a:p>
          <a:p>
            <a:endParaRPr lang="en-US" sz="2000" dirty="0">
              <a:solidFill>
                <a:srgbClr val="575757"/>
              </a:solidFill>
            </a:endParaRPr>
          </a:p>
          <a:p>
            <a:r>
              <a:rPr lang="en-US" sz="2000" dirty="0">
                <a:solidFill>
                  <a:srgbClr val="575757"/>
                </a:solidFill>
              </a:rPr>
              <a:t>Success Criteria:</a:t>
            </a:r>
          </a:p>
          <a:p>
            <a:r>
              <a:rPr lang="en-US" sz="2000" dirty="0">
                <a:solidFill>
                  <a:srgbClr val="575757"/>
                </a:solidFill>
              </a:rPr>
              <a:t>1. Reduce cost per unit from $42 to $33</a:t>
            </a:r>
          </a:p>
          <a:p>
            <a:r>
              <a:rPr lang="en-US" sz="2000" dirty="0">
                <a:solidFill>
                  <a:srgbClr val="575757"/>
                </a:solidFill>
              </a:rPr>
              <a:t>2. Improve on-time delivery from 78% to 95%</a:t>
            </a:r>
          </a:p>
          <a:p>
            <a:r>
              <a:rPr lang="en-US" sz="2000" dirty="0">
                <a:solidFill>
                  <a:srgbClr val="575757"/>
                </a:solidFill>
              </a:rPr>
              <a:t>3. Lower employee turnover to &lt;15%</a:t>
            </a:r>
          </a:p>
          <a:p>
            <a:endParaRPr lang="en-US" sz="2000" dirty="0">
              <a:solidFill>
                <a:srgbClr val="575757"/>
              </a:solidFill>
            </a:endParaRPr>
          </a:p>
          <a:p>
            <a:r>
              <a:rPr lang="en-US" sz="2000" dirty="0">
                <a:solidFill>
                  <a:srgbClr val="575757"/>
                </a:solidFill>
              </a:rPr>
              <a:t>Questions? Contact </a:t>
            </a:r>
            <a:r>
              <a:rPr lang="en-US" sz="2000" dirty="0" err="1">
                <a:solidFill>
                  <a:srgbClr val="575757"/>
                </a:solidFill>
              </a:rPr>
              <a:t>mroberts@consulting-firm.com</a:t>
            </a:r>
            <a:endParaRPr lang="en-US" sz="2000" dirty="0">
              <a:solidFill>
                <a:srgbClr val="575757"/>
              </a:solidFill>
            </a:endParaRPr>
          </a:p>
        </p:txBody>
      </p:sp>
    </p:spTree>
    <p:custDataLst>
      <p:tags r:id="rId1"/>
    </p:custDataLst>
    <p:extLst>
      <p:ext uri="{BB962C8B-B14F-4D97-AF65-F5344CB8AC3E}">
        <p14:creationId xmlns:p14="http://schemas.microsoft.com/office/powerpoint/2010/main" val="2692632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EE4P_AGENDAWIZARD" val="&lt;ee4p&gt;&lt;layouts&gt;&lt;layout name=&quot;Two-Thirds&quot; id=&quot;227_1-4&quot;&gt;&lt;standard&gt;&lt;textframe horizontalAnchor=&quot;1&quot; marginBottom=&quot;0&quot; marginLeft=&quot;0&quot; marginRight=&quot;0&quot; marginTop=&quot;0&quot; orientation=&quot;1&quot; verticalAnchor=&quot;1&quot; /&gt;&lt;font name=&quot;Trebuchet MS&quot; bold=&quot;0&quot; italic=&quot;0&quot; color=&quot;13&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tandard&gt;&lt;agenda name=&quot;&quot; title=&quot;&quot; subtitle=&quot;&quot; sizingModeId=&quot;1&quot; fontSize=&quot;24&quot; fontSizeAuto=&quot;1&quot; startTime=&quot;540&quot; timeFormatId=&quot;1&quot; startItemNo=&quot;1&quot; createSingleAgendaSlide=&quot;1&quot; createSeparatingSlides=&quot;1&quot; createBackupSlide=&quot;1&quot; /&gt;&lt;columns&gt;&lt;column field=&quot;itemno&quot; label=&quot;No.&quot; checked=&quot;0&quot; leftSpacing=&quot;0&quot; rightSpacing=&quot;0&quot; dock=&quot;1&quot; fixedWidth=&quot;51.87527&quot; /&gt;&lt;column field=&quot;topic&quot; label=&quot;Topic&quot; leftSpacing=&quot;0&quot; rightDistribute=&quot;1&quot; dock=&quot;1&quot; /&gt;&lt;column field=&quot;responsible&quot; label=&quot;Responsible&quot; visible=&quot;0&quot; checked=&quot;0&quot; leftSpacing=&quot;10&quot; rightDistribute=&quot;1&quot; dock=&quot;1&quot; /&gt;&lt;column field=&quot;freecolumn&quot; label=&quot;&quot; visible=&quot;0&quot; checked=&quot;0&quot; leftSpacing=&quot;10&quot; rightDistribute=&quot;1&quot; dock=&quot;1&quot; /&gt;&lt;column field=&quot;timeslot&quot; label=&quot;Time Slot&quot; visible=&quot;1&quot; checked=&quot;0&quot; leftSpacing=&quot;34&quot; rightSpacing=&quot;0&quot; dock=&quot;2&quot; /&gt;&lt;column field=&quot;pageno&quot; label=&quot;Page No.&quot; visible=&quot;0&quot; checked=&quot;0&quot; leftSpacing=&quot;34&quot; rightSpacing=&quot;0&quot; dock=&quot;2&quot; /&gt;&lt;/columns&gt;&lt;position left=&quot;406.8057&quot; top=&quot;54.87496&quot; width=&quot;503.6943&quot; height=&quot;430.2501&quot; /&gt;&lt;!--&#10;      &lt;subtitle&gt;&#10;      &#10;        &lt;position left=&quot;197.597&quot; top=&quot;369.3848&quot; width=&quot;123.634&quot; height=&quot;115.6044&quot; autoshape=&quot;1&quot; rotation=&quot;0&quot; /&gt;&#10;        &lt;line visible=&quot;1&quot; weight=&quot;0.75&quot; style=&quot;1&quot; dashStyle=&quot;1&quot; foreColor=&quot;14&quot; /&gt;&#10;        &lt;fill visible=&quot;0&quot; /&gt;&#10;        &lt;textframe horizontalAnchor=&quot;1&quot; verticalAnchor=&quot;1&quot; orientation=&quot;1&quot; wordWrap=&quot;1&quot; autoSize=&quot;0&quot; marginLeft=&quot;8.503937&quot; marginRight=&quot;0&quot; marginTop=&quot;14.17323&quot; marginBottom=&quot;0&quot; /&gt;&#10;        &lt;paragraphformat alignment=&quot;1&quot; lineRuleBefore=&quot;0&quot; lineRuleWithin=&quot;1&quot; lineRuleAfter=&quot;0&quot; spaceBefore=&quot;0&quot; spaceWithin=&quot;0.95&quot; spaceAfter=&quot;0&quot; /&gt;&#10;        &lt;font name=&quot;Trebuchet MS&quot; size=&quot;10&quot; bold=&quot;0&quot; italic=&quot;0&quot; underlineStyle=&quot;0&quot; color=&quot;#ffffff&quot; spacing=&quot;0&quot; kerning=&quot;12&quot; /&gt;&#10;      &#10;      &lt;/subtitle&gt;&#10;      --&gt;&lt;settings allowedSizingModeIds=&quot;1|2&quot; allowedFontSizes=&quot;8|9|10|10.5|11|12|14|16|18|20|22|24&quot; allowedTimeFormatIds=&quot;1|2|3&quot; slideLayout=&quot;11&quot; customLayoutName=&quot;Green one third|Presentation¦Green one third&quot; customLayoutIndex=&quot;&quot; showBreak=&quot;0&quot; singleAgendaSlideSelected=&quot;1&quot; backupSlideTitle=&quot;Unused Slides&quot; topMargin=&quot;0.5&quot; leftMargin=&quot;0&quot; allowedLevels=&quot;2&quot; itemNoFormats=&quot;{1}¦{1}.{2}¦{3:alphaLC}¦{3:alphaLC}.{4:alphaLC}&quot; customLayoutNameBackup=&quot;Special gray|Presentation¦Special gray&quot; titlePrompt=&quot;Insert Title&quot; /&gt;&lt;cases&gt;&lt;!-- Single --&gt;&lt;case level=&quot;1&quot; single=&quot;1&quot; break=&quot;0&quot; topMinSpacing=&quot;5&quot; topMaxSpacing=&quot;15&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element&gt;&lt;element field=&quot;responsible&quot; type=&quot;autoshape&quot; autoShapeType=&quot;1&quot;&gt;&lt;paragraphformat alignment=&quot;1&quot; lineRuleBefore=&quot;0&quot; lineRuleWithin=&quot;1&quot; lineRuleAfter=&quot;0&quot; spaceBefore=&quot;6&quot; spaceWithin=&quot;1.1&quot; spaceAfter=&quot;3&quot; /&gt;&lt;/element&gt;&lt;element field=&quot;freecolumn&quot; type=&quot;autoshape&quot; autoShapeType=&quot;1&quot;&gt;&lt;paragraphformat alignment=&quot;1&quot; lineRuleBefore=&quot;0&quot; lineRuleWithin=&quot;1&quot; lineRuleAfter=&quot;0&quot; spaceBefore=&quot;6&quot; spaceWithin=&quot;1.1&quot; spaceAfter=&quot;3&quot; /&gt;&lt;/element&gt;&lt;element field=&quot;timeslot&quot; type=&quot;autoshape&quot; autoShapeType=&quot;1&quot;&gt;&lt;paragraphformat alignment=&quot;1&quot; lineRuleBefore=&quot;0&quot; lineRuleWithin=&quot;1&quot; lineRuleAfter=&quot;0&quot; spaceBefore=&quot;6&quot; spaceWithin=&quot;1.1&quot; spaceAfter=&quot;3&quot; /&gt;&lt;/element&gt;&lt;element field=&quot;pageno&quot; type=&quot;autoshape&quot; autoShapeType=&quot;1&quot;&gt;&lt;paragraphformat alignment=&quot;3&quot; /&gt;&lt;/element&gt;&lt;/case&gt;&lt;case level=&quot;2&quot; single=&quot;1&quot; break=&quot;0&quot; topMinSpacing=&quot;4&quot; topMaxSpacing=&quot;4&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relativeSize=&quot;0.75&quot; /&gt;&lt;/element&gt;&lt;element field=&quot;responsible&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freecolumn&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timeslot&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pageno&quot; type=&quot;autoshape&quot; autoShapeType=&quot;1&quot;&gt;&lt;paragraphformat alignment=&quot;3&quot; /&gt;&lt;font relativeSize=&quot;0.75&quot; /&gt;&lt;/element&gt;&lt;/case&gt;&lt;!-- Selected --&gt;&lt;case level=&quot;1&quot; selected=&quot;0&quot; break=&quot;0&quot; topMinSpacing=&quot;5&quot; topMaxSpacing=&quot;15&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color=&quot;13:0.4&quot; /&gt;&lt;/element&gt;&lt;element field=&quot;responsible&quot; type=&quot;autoshape&quot; autoShapeType=&quot;1&quot;&gt;&lt;paragraphformat alignment=&quot;1&quot; lineRuleBefore=&quot;0&quot; lineRuleWithin=&quot;1&quot; lineRuleAfter=&quot;0&quot; spaceBefore=&quot;6&quot; spaceWithin=&quot;1.1&quot; spaceAfter=&quot;3&quot; /&gt;&lt;font color=&quot;13:0.4&quot; /&gt;&lt;/element&gt;&lt;element field=&quot;freecolumn&quot; type=&quot;autoshape&quot; autoShapeType=&quot;1&quot;&gt;&lt;paragraphformat alignment=&quot;1&quot; lineRuleBefore=&quot;0&quot; lineRuleWithin=&quot;1&quot; lineRuleAfter=&quot;0&quot; spaceBefore=&quot;6&quot; spaceWithin=&quot;1.1&quot; spaceAfter=&quot;3&quot; /&gt;&lt;font color=&quot;13:0.4&quot; /&gt;&lt;/element&gt;&lt;element field=&quot;timeslot&quot; type=&quot;autoshape&quot; autoShapeType=&quot;1&quot;&gt;&lt;paragraphformat alignment=&quot;1&quot; lineRuleBefore=&quot;0&quot; lineRuleWithin=&quot;1&quot; lineRuleAfter=&quot;0&quot; spaceBefore=&quot;6&quot; spaceWithin=&quot;1.1&quot; spaceAfter=&quot;3&quot; /&gt;&lt;font color=&quot;13:0.4&quot; /&gt;&lt;/element&gt;&lt;element field=&quot;pageno&quot; type=&quot;autoshape&quot; autoShapeType=&quot;1&quot;&gt;&lt;paragraphformat alignment=&quot;3&quot; /&gt;&lt;font color=&quot;13:0.4&quot; /&gt;&lt;/element&gt;&lt;/case&gt;&lt;case level=&quot;1&quot; selected=&quot;1&quot; break=&quot;0&quot; topMinSpacing=&quot;5&quot; topMaxSpacing=&quot;15&quot; bottomMinSpacing=&quot;0&quot; bottomMaxSpacing=&quot;0&quot;&gt;&lt;element type=&quot;picture&quot; picture=&quot;rightbutton.emf&quot; value=&quot;&quot; slideType=&quot;20693&quot;&gt;&lt;position left=&quot;-35.62*scale*fontScale&quot; top=&quot;(itemHeight-23.04*scale*fontScale)/2&quot; width=&quot;23.08244*scale*fontScale&quot; height=&quot;23.04*scale*fontScale&quot; /&gt;&lt;/element&gt;&lt;element type=&quot;autoshape&quot; autoShapeType=&quot;9&quot;&gt;&lt;position left=&quot;-35.62*scale*fontScale&quot; top=&quot;(itemHeight-23.04*scale*fontScale)/2&quot; width=&quot;23.08244*scale*fontScale&quot; height=&quot;23.04*scale*fontScale&quot; /&gt;&lt;fill foreColor=&quot;15&quot; visible=&quot;1&quot; /&gt;&lt;/elemen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element&gt;&lt;element field=&quot;responsible&quot; type=&quot;autoshape&quot; autoShapeType=&quot;1&quot;&gt;&lt;paragraphformat alignment=&quot;1&quot; lineRuleBefore=&quot;0&quot; lineRuleWithin=&quot;1&quot; lineRuleAfter=&quot;0&quot; spaceBefore=&quot;6&quot; spaceWithin=&quot;1.1&quot; spaceAfter=&quot;3&quot; /&gt;&lt;/element&gt;&lt;element field=&quot;freecolumn&quot; type=&quot;autoshape&quot; autoShapeType=&quot;1&quot;&gt;&lt;paragraphformat alignment=&quot;1&quot; lineRuleBefore=&quot;0&quot; lineRuleWithin=&quot;1&quot; lineRuleAfter=&quot;0&quot; spaceBefore=&quot;6&quot; spaceWithin=&quot;1.1&quot; spaceAfter=&quot;3&quot; /&gt;&lt;/element&gt;&lt;element field=&quot;timeslot&quot; type=&quot;autoshape&quot; autoShapeType=&quot;1&quot;&gt;&lt;paragraphformat alignment=&quot;1&quot; lineRuleBefore=&quot;0&quot; lineRuleWithin=&quot;1&quot; lineRuleAfter=&quot;0&quot; spaceBefore=&quot;6&quot; spaceWithin=&quot;1.1&quot; spaceAfter=&quot;3&quot; /&gt;&lt;/element&gt;&lt;element field=&quot;pageno&quot; type=&quot;autoshape&quot; autoShapeType=&quot;1&quot;&gt;&lt;paragraphformat alignment=&quot;3&quot; /&gt;&lt;/element&gt;&lt;/case&gt;&lt;case level=&quot;2&quot; selected=&quot;0&quot; break=&quot;0&quot; topMinSpacing=&quot;4&quot; topMaxSpacing=&quot;4&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color=&quot;13:0.4&quot; relativeSize=&quot;0.75&quot; /&gt;&lt;/element&gt;&lt;element field=&quot;responsible&quot; type=&quot;autoshape&quot; autoShapeType=&quot;1&quot;&gt;&lt;paragraphformat alignment=&quot;1&quot; lineRuleBefore=&quot;0&quot; lineRuleWithin=&quot;1&quot; lineRuleAfter=&quot;0&quot; spaceBefore=&quot;6&quot; spaceWithin=&quot;1.1&quot; spaceAfter=&quot;3&quot; /&gt;&lt;font color=&quot;13:0.4&quot; relativeSize=&quot;0.75&quot; /&gt;&lt;/element&gt;&lt;element field=&quot;freecolumn&quot; type=&quot;autoshape&quot; autoShapeType=&quot;1&quot;&gt;&lt;paragraphformat alignment=&quot;1&quot; lineRuleBefore=&quot;0&quot; lineRuleWithin=&quot;1&quot; lineRuleAfter=&quot;0&quot; spaceBefore=&quot;6&quot; spaceWithin=&quot;1.1&quot; spaceAfter=&quot;3&quot; /&gt;&lt;font color=&quot;13:0.4&quot; relativeSize=&quot;0.75&quot; /&gt;&lt;/element&gt;&lt;element field=&quot;timeslot&quot; type=&quot;autoshape&quot; autoShapeType=&quot;1&quot;&gt;&lt;paragraphformat alignment=&quot;1&quot; lineRuleBefore=&quot;0&quot; lineRuleWithin=&quot;1&quot; lineRuleAfter=&quot;0&quot; spaceBefore=&quot;6&quot; spaceWithin=&quot;1.1&quot; spaceAfter=&quot;3&quot; /&gt;&lt;font color=&quot;13:0.4&quot; relativeSize=&quot;0.75&quot; /&gt;&lt;/element&gt;&lt;element field=&quot;pageno&quot; type=&quot;autoshape&quot; autoShapeType=&quot;1&quot;&gt;&lt;paragraphformat alignment=&quot;3&quot; /&gt;&lt;font color=&quot;13:0.4&quot; relativeSize=&quot;0.75&quot; /&gt;&lt;/element&gt;&lt;/case&gt;&lt;case level=&quot;2&quot; selected=&quot;1&quot; break=&quot;0&quot; topMinSpacing=&quot;4&quot; topMaxSpacing=&quot;4&quot; bottomMinSpacing=&quot;0&quot; bottomMaxSpacing=&quot;0&quot;&gt;&lt;element type=&quot;picture&quot; picture=&quot;rightbutton.emf&quot; value=&quot;&quot; slideType=&quot;20693&quot;&gt;&lt;position left=&quot;-35.62*scale*fontScale&quot; top=&quot;(itemHeight-23.04*scale*fontScale)/2&quot; width=&quot;23.08244*scale*fontScale&quot; height=&quot;23.04*scale*fontScale&quot; /&gt;&lt;/element&gt;&lt;element type=&quot;autoshape&quot; autoShapeType=&quot;9&quot;&gt;&lt;position left=&quot;-35.62*scale*fontScale&quot; top=&quot;(itemHeight-23.04*scale*fontScale)/2&quot; width=&quot;23.08244*scale*fontScale&quot; height=&quot;23.04*scale*fontScale&quot; /&gt;&lt;fill foreColor=&quot;15&quot; visible=&quot;1&quot; /&gt;&lt;/elemen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relativeSize=&quot;0.75&quot; /&gt;&lt;/element&gt;&lt;element field=&quot;responsible&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freecolumn&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timeslot&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pageno&quot; type=&quot;autoshape&quot; autoShapeType=&quot;1&quot;&gt;&lt;paragraphformat alignment=&quot;3&quot; /&gt;&lt;font relativeSize=&quot;0.75&quot; /&gt;&lt;/element&gt;&lt;/case&gt;&lt;/cases&gt;&lt;elements /&gt;&lt;/layout&gt;&lt;/layouts&gt;&lt;contents&gt;&lt;agenda name=&quot;&quot; title=&quot;Agenda&quot; subtitle=&quot;&quot; sizingModeId=&quot;1&quot; fontSize=&quot;24&quot; fontSizeAuto=&quot;1&quot; startTime=&quot;540&quot; timeFormatId=&quot;1&quot; startItemNo=&quot;1&quot; createSingleAgendaSlide=&quot;1&quot; createSeparatingSlides=&quot;1&quot; createBackupSlide=&quot;0&quot; layoutId=&quot;227_1-4&quot; hideSeparatingSlides=&quot;0&quot; createSections=&quot;0&quot; singleSlideId=&quot;fdd131a0-2fac-408a-82d2-f129cb35073c&quot;&gt;&lt;columns leftSpacing=&quot;0&quot; rightSpacing=&quot;0&quot;&gt;&lt;column field=&quot;itemno&quot; label=&quot;No.&quot; checked=&quot;0&quot; leftSpacing=&quot;0&quot; rightSpacing=&quot;0&quot; dock=&quot;1&quot; fixedWidth=&quot;51.87527&quot; /&gt;&lt;column field=&quot;topic&quot; label=&quot;Topic&quot; leftSpacing=&quot;0&quot; rightDistribute=&quot;1&quot; dock=&quot;1&quot; rightSpacing=&quot;1.537964E-06&quot; /&gt;&lt;column field=&quot;responsible&quot; label=&quot;Responsible&quot; visible=&quot;0&quot; checked=&quot;0&quot; leftSpacing=&quot;10&quot; rightDistribute=&quot;1&quot; dock=&quot;1&quot; /&gt;&lt;column field=&quot;freecolumn&quot; label=&quot;&quot; visible=&quot;0&quot; checked=&quot;0&quot; leftSpacing=&quot;10&quot; rightDistribute=&quot;1&quot; dock=&quot;1&quot; /&gt;&lt;column field=&quot;timeslot&quot; label=&quot;Time Slot&quot; visible=&quot;1&quot; checked=&quot;0&quot; leftSpacing=&quot;34&quot; rightSpacing=&quot;0&quot; dock=&quot;2&quot; /&gt;&lt;column field=&quot;pageno&quot; label=&quot;Page No.&quot; visible=&quot;0&quot; checked=&quot;0&quot; leftSpacing=&quot;34&quot; rightSpacing=&quot;0&quot; dock=&quot;2&quot; /&gt;&lt;/columns&gt;&lt;items&gt;&lt;item duration=&quot;30&quot; id=&quot;8b807163-1401-4122-bb32-a201485dff17&quot; parentId=&quot;&quot; level=&quot;1&quot; generateAgendaSlide=&quot;1&quot; showAgendaItem=&quot;1&quot; isBreak=&quot;0&quot; topic=&quot;Review feedback from SteerCo #1 &amp;amp; proposed aligned statement&quot; agendaSlideId=&quot;47745ad2-aeaa-4b22-8c11-262eaa65168b&quot; /&gt;&lt;item duration=&quot;30&quot; id=&quot;d19b68c9-b5c0-434e-9188-3a40914f6ac2&quot; parentId=&quot;&quot; level=&quot;1&quot; generateAgendaSlide=&quot;1&quot; showAgendaItem=&quot;1&quot; isBreak=&quot;0&quot; topic=&quot;Discuss contingency planning &amp;amp; monitoring &quot; agendaSlideId=&quot;9e674878-da7b-44e3-9b2f-9c7d29104e8f&quot; /&gt;&lt;item duration=&quot;30&quot; id=&quot;cef80d30-6791-406f-ab84-9d857a5ae79d&quot; parentId=&quot;&quot; level=&quot;1&quot; generateAgendaSlide=&quot;1&quot; showAgendaItem=&quot;1&quot; isBreak=&quot;0&quot; topic=&quot;Align on next steps&quot; agendaSlideId=&quot;3750e0fe-4b84-493d-bfe9-b973a7290311&quot; /&gt;&lt;/items&gt;&lt;/agenda&gt;&lt;/contents&gt;&lt;/ee4p&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21.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2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1.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42.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4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1.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BCG_MODE" val="Presentation"/>
  <p:tag name="BCG_DESIGN" val="Gray slice heading"/>
  <p:tag name="EE4P_LAYOUT_ID" val="K"/>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p0tAxP2ARtivIoEsaYlE2A"/>
</p:tagLst>
</file>

<file path=ppt/tags/tag71.xml><?xml version="1.0" encoding="utf-8"?>
<p:tagLst xmlns:a="http://schemas.openxmlformats.org/drawingml/2006/main" xmlns:r="http://schemas.openxmlformats.org/officeDocument/2006/relationships" xmlns:p="http://schemas.openxmlformats.org/presentationml/2006/main">
  <p:tag name="BCG_MODE" val="Presentation"/>
  <p:tag name="BCG_DESIGN" val="Title only"/>
  <p:tag name="EE4P_LAYOUT_ID" val="K"/>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yqK83.I_DVawHlHJZjAl_w"/>
</p:tagLst>
</file>

<file path=ppt/tags/tag74.xml><?xml version="1.0" encoding="utf-8"?>
<p:tagLst xmlns:a="http://schemas.openxmlformats.org/drawingml/2006/main" xmlns:r="http://schemas.openxmlformats.org/officeDocument/2006/relationships" xmlns:p="http://schemas.openxmlformats.org/presentationml/2006/main">
  <p:tag name="BCG_MODE" val="Presentation"/>
  <p:tag name="BCG_DESIGN" val="Title only"/>
  <p:tag name="EE4P_LAYOUT_ID" val="K"/>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yqK83.I_DVawHlHJZjAl_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1_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3.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3484C00D252BD41AC6B4AF16CFA8BBC" ma:contentTypeVersion="2" ma:contentTypeDescription="Create a new document." ma:contentTypeScope="" ma:versionID="df717b89819076cabca91e7aedca43e3">
  <xsd:schema xmlns:xsd="http://www.w3.org/2001/XMLSchema" xmlns:xs="http://www.w3.org/2001/XMLSchema" xmlns:p="http://schemas.microsoft.com/office/2006/metadata/properties" xmlns:ns2="6ea1044a-c2f0-49be-a791-ac9bffbf3517" targetNamespace="http://schemas.microsoft.com/office/2006/metadata/properties" ma:root="true" ma:fieldsID="d47e3dd434d5fc0a2196ce264fe02eea" ns2:_="">
    <xsd:import namespace="6ea1044a-c2f0-49be-a791-ac9bffbf3517"/>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ea1044a-c2f0-49be-a791-ac9bffbf351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C111F4A-60FF-41DE-BC65-F40DAD0113A1}">
  <ds:schemaRefs>
    <ds:schemaRef ds:uri="http://schemas.microsoft.com/sharepoint/v3/contenttype/forms"/>
  </ds:schemaRefs>
</ds:datastoreItem>
</file>

<file path=customXml/itemProps2.xml><?xml version="1.0" encoding="utf-8"?>
<ds:datastoreItem xmlns:ds="http://schemas.openxmlformats.org/officeDocument/2006/customXml" ds:itemID="{ADC31D27-1E87-4ABA-AF82-30000D5AD77B}">
  <ds:schemaRefs>
    <ds:schemaRef ds:uri="http://schemas.microsoft.com/office/2006/documentManagement/types"/>
    <ds:schemaRef ds:uri="http://purl.org/dc/dcmitype/"/>
    <ds:schemaRef ds:uri="http://schemas.openxmlformats.org/package/2006/metadata/core-properties"/>
    <ds:schemaRef ds:uri="http://www.w3.org/XML/1998/namespace"/>
    <ds:schemaRef ds:uri="http://purl.org/dc/elements/1.1/"/>
    <ds:schemaRef ds:uri="http://purl.org/dc/terms/"/>
    <ds:schemaRef ds:uri="http://schemas.microsoft.com/office/infopath/2007/PartnerControls"/>
    <ds:schemaRef ds:uri="6ea1044a-c2f0-49be-a791-ac9bffbf3517"/>
    <ds:schemaRef ds:uri="http://schemas.microsoft.com/office/2006/metadata/properties"/>
  </ds:schemaRefs>
</ds:datastoreItem>
</file>

<file path=customXml/itemProps3.xml><?xml version="1.0" encoding="utf-8"?>
<ds:datastoreItem xmlns:ds="http://schemas.openxmlformats.org/officeDocument/2006/customXml" ds:itemID="{D2761F6F-094F-4293-A6E4-337D3CEFB05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ea1044a-c2f0-49be-a791-ac9bffbf351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6133</TotalTime>
  <Words>398</Words>
  <Application>Microsoft Macintosh PowerPoint</Application>
  <PresentationFormat>Widescreen</PresentationFormat>
  <Paragraphs>61</Paragraphs>
  <Slides>6</Slides>
  <Notes>3</Notes>
  <HiddenSlides>0</HiddenSlides>
  <MMClips>0</MMClips>
  <ScaleCrop>false</ScaleCrop>
  <HeadingPairs>
    <vt:vector size="10" baseType="variant">
      <vt:variant>
        <vt:lpstr>Fonts Used</vt:lpstr>
      </vt:variant>
      <vt:variant>
        <vt:i4>2</vt:i4>
      </vt:variant>
      <vt:variant>
        <vt:lpstr>Theme</vt:lpstr>
      </vt:variant>
      <vt:variant>
        <vt:i4>2</vt:i4>
      </vt:variant>
      <vt:variant>
        <vt:lpstr>Embedded OLE Servers</vt:lpstr>
      </vt:variant>
      <vt:variant>
        <vt:i4>1</vt:i4>
      </vt:variant>
      <vt:variant>
        <vt:lpstr>Slide Titles</vt:lpstr>
      </vt:variant>
      <vt:variant>
        <vt:i4>6</vt:i4>
      </vt:variant>
      <vt:variant>
        <vt:lpstr>Custom Shows</vt:lpstr>
      </vt:variant>
      <vt:variant>
        <vt:i4>1</vt:i4>
      </vt:variant>
    </vt:vector>
  </HeadingPairs>
  <TitlesOfParts>
    <vt:vector size="12" baseType="lpstr">
      <vt:lpstr>Arial</vt:lpstr>
      <vt:lpstr>Trebuchet MS</vt:lpstr>
      <vt:lpstr>BCG Grid 16:9</vt:lpstr>
      <vt:lpstr>1_BCG Grid 16:9</vt:lpstr>
      <vt:lpstr>think-cell Slide</vt:lpstr>
      <vt:lpstr>Gripe: Operational Excellence Initiative  Manufacturing Optimization Assessment Q4 2024</vt:lpstr>
      <vt:lpstr>Overview and Key Findings</vt:lpstr>
      <vt:lpstr>About Gripe Manufacturing</vt:lpstr>
      <vt:lpstr>Context setting  Financial Performance Analysis</vt:lpstr>
      <vt:lpstr>Implementation Roadmap</vt:lpstr>
      <vt:lpstr>Next Steps</vt:lpstr>
      <vt:lpstr>Format Guide Workshop</vt:lpstr>
    </vt:vector>
  </TitlesOfParts>
  <Company>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oston Consulting Group</dc:creator>
  <cp:lastModifiedBy>Brandon Pae</cp:lastModifiedBy>
  <cp:revision>759</cp:revision>
  <cp:lastPrinted>2000-01-01T07:00:00Z</cp:lastPrinted>
  <dcterms:created xsi:type="dcterms:W3CDTF">2020-05-27T17:34:49Z</dcterms:created>
  <dcterms:modified xsi:type="dcterms:W3CDTF">2025-10-06T20:25: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y fmtid="{D5CDD505-2E9C-101B-9397-08002B2CF9AE}" pid="7" name="ContentTypeId">
    <vt:lpwstr>0x01010053484C00D252BD41AC6B4AF16CFA8BBC</vt:lpwstr>
  </property>
</Properties>
</file>